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sldIdLst>
    <p:sldId id="256" r:id="rId5"/>
    <p:sldId id="257" r:id="rId6"/>
    <p:sldId id="273" r:id="rId7"/>
    <p:sldId id="259" r:id="rId8"/>
    <p:sldId id="274" r:id="rId9"/>
    <p:sldId id="271" r:id="rId10"/>
    <p:sldId id="261" r:id="rId11"/>
    <p:sldId id="276" r:id="rId12"/>
    <p:sldId id="277" r:id="rId13"/>
    <p:sldId id="279" r:id="rId14"/>
    <p:sldId id="278" r:id="rId15"/>
    <p:sldId id="280" r:id="rId16"/>
    <p:sldId id="281" r:id="rId17"/>
    <p:sldId id="282" r:id="rId18"/>
    <p:sldId id="26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2F014D-B453-44DD-882A-B43351886E49}" v="1" dt="2020-10-20T22:16:47.5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32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F72F6-DDC8-4250-926B-69CA7A5001EE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175996-32A2-4E79-B79A-B9BAD51028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328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highlight>
                  <a:srgbClr val="FFFF00"/>
                </a:highlight>
              </a:rPr>
              <a:t>Medical Board of California, “Important Changes to Postgraduate Training and Licensing Requirements,” Medical Board of California, 2020. Available at: https://www.mbc.ca.gov/Licensees/2020_Changes.aspx. Accessed October 15, 2020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75996-32A2-4E79-B79A-B9BAD51028E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618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gan, E. B., et al. "Family Medicine Graduate Proximity to Their Site of Training."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mily Medicin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vol. 47, no. 2, February 2015, pp. 124-30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dirty="0"/>
              <a:t>Association of American Medical Colleges, "California Physician Workforce Profile," Association of American Medical Colleges, 2019. Available at https://www.aamc.org/system/files/2019-12/state-physician-California-2019%5B1%5D.pdf. Accessed October 12, 2020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75996-32A2-4E79-B79A-B9BAD51028E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79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gn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., W.R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llander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S.M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zakowsk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“The Direct, Indirect, and Intangible Benefits of Graduate Medical Education Programs to their Sponsoring Institutions and Communities.” 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urnal of Graduate Medical Educ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vol. 2, no. 2, June 2010, pp. 154–159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arco, D.M., R. Forster, T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ki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R.W. Finberg. “Eliminating Residents Increases the Cost of Care.” 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urnal of Graduate Medical Educ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vol. 9, no. 4, 2017, pp. 514–517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75996-32A2-4E79-B79A-B9BAD51028E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5289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gno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., W.R. </a:t>
            </a: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llanders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S.M. </a:t>
            </a: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zakowski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“The Direct, Indirect, and Intangible Benefits of Graduate Medical Education Programs to their Sponsoring Institutions and Communities.”</a:t>
            </a:r>
            <a:r>
              <a:rPr lang="en-US" sz="1200" i="1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Journal of Graduate Medical Education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vol. 2, no. 2, June 2010, pp. 154–159.; DeMarco, D.M., R. Forster, T. </a:t>
            </a: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kis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R.W. Finberg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75996-32A2-4E79-B79A-B9BAD51028E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464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gno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., W.R. </a:t>
            </a: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llanders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S.M. </a:t>
            </a: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zakowski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“The Direct, Indirect, and Intangible Benefits of Graduate Medical Education Programs to their Sponsoring Institutions and Communities.”</a:t>
            </a:r>
            <a:r>
              <a:rPr lang="en-US" sz="1200" i="1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Journal of Graduate Medical Education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vol. 2, no. 2, June 2010, pp. 154–159.; DeMarco, D.M., R. Forster, T. </a:t>
            </a:r>
            <a:r>
              <a:rPr lang="en-US" sz="1200" kern="1200" baseline="300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kis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R.W. Finberg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75996-32A2-4E79-B79A-B9BAD51028E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126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rke, L. G., et al. "Comparison of costs of care for Medicare patients hospitalized in teaching and nonteaching hospitals."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MA Network Ope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vol. 2, no. 6, June 2019, pp  e195229-e195229.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ugno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., W.R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llanders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S.M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zakowski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“The Direct, Indirect, and Intangible Benefits of Graduate Medical Education Programs to their Sponsoring Institutions and Communities.” 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ournal of Graduate Medical Educatio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vol. 2, no. 2, June 2010, pp. 154–159. Available at https://www.jgme.org/doi/full/10.4300/JGME-D-09-00008.1. Accessed May 27, 2020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175996-32A2-4E79-B79A-B9BAD51028E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63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62A18208-670E-1148-A64F-72EC3E6B35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915" y="2548053"/>
            <a:ext cx="7382107" cy="1761893"/>
          </a:xfrm>
        </p:spPr>
        <p:txBody>
          <a:bodyPr lIns="0" tIns="0" rIns="0" bIns="0" anchor="ctr" anchorCtr="0">
            <a:noAutofit/>
          </a:bodyPr>
          <a:lstStyle>
            <a:lvl1pPr algn="l">
              <a:lnSpc>
                <a:spcPct val="90000"/>
              </a:lnSpc>
              <a:defRPr sz="7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 Slide</a:t>
            </a:r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B2F54DD2-53DD-E94B-AE46-D4AE86E668E3}"/>
              </a:ext>
            </a:extLst>
          </p:cNvPr>
          <p:cNvSpPr/>
          <p:nvPr/>
        </p:nvSpPr>
        <p:spPr>
          <a:xfrm rot="16200000">
            <a:off x="10375600" y="5034086"/>
            <a:ext cx="1787236" cy="1860589"/>
          </a:xfrm>
          <a:prstGeom prst="rtTriangle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86EF50-43A5-40ED-BAF0-E0129E3A98D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15" y="495577"/>
            <a:ext cx="2186260" cy="53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2472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Full P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B8BB476-75CA-B647-9A9E-C627ADBDFE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519334" y="0"/>
            <a:ext cx="5672668" cy="6858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>
              <a:lnSpc>
                <a:spcPct val="85000"/>
              </a:lnSpc>
              <a:defRPr sz="1867"/>
            </a:lvl1pPr>
          </a:lstStyle>
          <a:p>
            <a:r>
              <a:rPr lang="en-GB" dirty="0"/>
              <a:t>&lt;Insert picture&gt;</a:t>
            </a:r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95A95483-9110-4517-9551-64B5A2B066FE}"/>
              </a:ext>
            </a:extLst>
          </p:cNvPr>
          <p:cNvSpPr/>
          <p:nvPr/>
        </p:nvSpPr>
        <p:spPr>
          <a:xfrm rot="5400000">
            <a:off x="30588" y="-30590"/>
            <a:ext cx="886571" cy="947751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F6AAE39-38BB-4067-970C-6FEDC89A1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D442AE3-703F-40FC-8CE2-D32322FE46AB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7234197-2158-49CB-A208-AA04B05B16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3896" y="1828334"/>
            <a:ext cx="5790280" cy="422741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8055605A-B1C0-4ECE-BC2C-707F3CC793F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839E764E-CCB0-4396-AFDC-3164CCB24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96" y="703637"/>
            <a:ext cx="5790280" cy="901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66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69D919EB-611A-5245-B871-8F36C97448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389120" y="1095758"/>
            <a:ext cx="7802880" cy="4848600"/>
          </a:xfr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marR="0" indent="0" algn="l" defTabSz="685750" rtl="0" eaLnBrk="1" fontAlgn="auto" latinLnBrk="0" hangingPunct="1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en-GB"/>
              <a:t>&lt;Insert picture&gt;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09DA120F-CE3C-4CDA-BF2F-B71888FF7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EEC376C7-DD82-49A1-AF03-56FF99F93A86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CF61DD3-8751-4CF9-A0C0-DAC01EFAA55B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1F51DEE-9779-4750-9204-964EA4A243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9727" y="1053358"/>
            <a:ext cx="3796674" cy="48910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81E148-A71F-4182-A1D2-3B4F3D64C9A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726" y="6189145"/>
            <a:ext cx="1636288" cy="401464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DF43B554-6F49-4783-82FE-573162E9E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49015"/>
            <a:ext cx="10515600" cy="576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6677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 - 2 Pic Grid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" name="Group 87"/>
          <p:cNvGrpSpPr/>
          <p:nvPr/>
        </p:nvGrpSpPr>
        <p:grpSpPr bwMode="gray">
          <a:xfrm>
            <a:off x="-261981" y="-261982"/>
            <a:ext cx="12722008" cy="7381963"/>
            <a:chOff x="-196486" y="-196486"/>
            <a:chExt cx="9541506" cy="5536472"/>
          </a:xfrm>
        </p:grpSpPr>
        <p:grpSp>
          <p:nvGrpSpPr>
            <p:cNvPr id="89" name="Group 88"/>
            <p:cNvGrpSpPr/>
            <p:nvPr/>
          </p:nvGrpSpPr>
          <p:grpSpPr bwMode="gray">
            <a:xfrm>
              <a:off x="540000" y="-196486"/>
              <a:ext cx="8065628" cy="180000"/>
              <a:chOff x="540000" y="-265725"/>
              <a:chExt cx="8065628" cy="180000"/>
            </a:xfrm>
          </p:grpSpPr>
          <p:cxnSp>
            <p:nvCxnSpPr>
              <p:cNvPr id="230" name="Straight Connector 229"/>
              <p:cNvCxnSpPr/>
              <p:nvPr/>
            </p:nvCxnSpPr>
            <p:spPr bwMode="gray">
              <a:xfrm>
                <a:off x="540000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/>
              <p:cNvCxnSpPr/>
              <p:nvPr/>
            </p:nvCxnSpPr>
            <p:spPr bwMode="gray">
              <a:xfrm>
                <a:off x="1077827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/>
              <p:cNvCxnSpPr/>
              <p:nvPr/>
            </p:nvCxnSpPr>
            <p:spPr bwMode="gray">
              <a:xfrm>
                <a:off x="122875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/>
              <p:cNvCxnSpPr/>
              <p:nvPr/>
            </p:nvCxnSpPr>
            <p:spPr bwMode="gray">
              <a:xfrm>
                <a:off x="176349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/>
              <p:cNvCxnSpPr/>
              <p:nvPr/>
            </p:nvCxnSpPr>
            <p:spPr bwMode="gray">
              <a:xfrm>
                <a:off x="190489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234"/>
              <p:cNvCxnSpPr/>
              <p:nvPr/>
            </p:nvCxnSpPr>
            <p:spPr bwMode="gray">
              <a:xfrm>
                <a:off x="244352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Straight Connector 235"/>
              <p:cNvCxnSpPr/>
              <p:nvPr/>
            </p:nvCxnSpPr>
            <p:spPr bwMode="gray">
              <a:xfrm>
                <a:off x="259444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Straight Connector 236"/>
              <p:cNvCxnSpPr/>
              <p:nvPr/>
            </p:nvCxnSpPr>
            <p:spPr bwMode="gray">
              <a:xfrm>
                <a:off x="313536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237"/>
              <p:cNvCxnSpPr/>
              <p:nvPr/>
            </p:nvCxnSpPr>
            <p:spPr bwMode="gray">
              <a:xfrm>
                <a:off x="327676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238"/>
              <p:cNvCxnSpPr/>
              <p:nvPr/>
            </p:nvCxnSpPr>
            <p:spPr bwMode="gray">
              <a:xfrm>
                <a:off x="381740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/>
              <p:cNvCxnSpPr/>
              <p:nvPr/>
            </p:nvCxnSpPr>
            <p:spPr bwMode="gray">
              <a:xfrm>
                <a:off x="395880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/>
              <p:cNvCxnSpPr/>
              <p:nvPr/>
            </p:nvCxnSpPr>
            <p:spPr bwMode="gray">
              <a:xfrm>
                <a:off x="450105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/>
            </p:nvCxnSpPr>
            <p:spPr bwMode="gray">
              <a:xfrm>
                <a:off x="465198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Straight Connector 242"/>
              <p:cNvCxnSpPr/>
              <p:nvPr/>
            </p:nvCxnSpPr>
            <p:spPr bwMode="gray">
              <a:xfrm>
                <a:off x="518283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Straight Connector 243"/>
              <p:cNvCxnSpPr/>
              <p:nvPr/>
            </p:nvCxnSpPr>
            <p:spPr bwMode="gray">
              <a:xfrm>
                <a:off x="532423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Straight Connector 244"/>
              <p:cNvCxnSpPr/>
              <p:nvPr/>
            </p:nvCxnSpPr>
            <p:spPr bwMode="gray">
              <a:xfrm>
                <a:off x="587185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Straight Connector 245"/>
              <p:cNvCxnSpPr/>
              <p:nvPr/>
            </p:nvCxnSpPr>
            <p:spPr bwMode="gray">
              <a:xfrm>
                <a:off x="601325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/>
              <p:cNvCxnSpPr/>
              <p:nvPr/>
            </p:nvCxnSpPr>
            <p:spPr bwMode="gray">
              <a:xfrm>
                <a:off x="6555346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8" name="Straight Connector 247"/>
              <p:cNvCxnSpPr/>
              <p:nvPr/>
            </p:nvCxnSpPr>
            <p:spPr bwMode="gray">
              <a:xfrm>
                <a:off x="669674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Straight Connector 248"/>
              <p:cNvCxnSpPr/>
              <p:nvPr/>
            </p:nvCxnSpPr>
            <p:spPr bwMode="gray">
              <a:xfrm>
                <a:off x="723864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/>
              <p:cNvCxnSpPr/>
              <p:nvPr/>
            </p:nvCxnSpPr>
            <p:spPr bwMode="gray">
              <a:xfrm>
                <a:off x="7380039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Straight Connector 250"/>
              <p:cNvCxnSpPr/>
              <p:nvPr/>
            </p:nvCxnSpPr>
            <p:spPr bwMode="gray">
              <a:xfrm>
                <a:off x="792253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Straight Connector 251"/>
              <p:cNvCxnSpPr/>
              <p:nvPr/>
            </p:nvCxnSpPr>
            <p:spPr bwMode="gray">
              <a:xfrm>
                <a:off x="806393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/>
            </p:nvCxnSpPr>
            <p:spPr bwMode="gray">
              <a:xfrm>
                <a:off x="8605628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3" name="Group 172"/>
            <p:cNvGrpSpPr/>
            <p:nvPr/>
          </p:nvGrpSpPr>
          <p:grpSpPr bwMode="gray">
            <a:xfrm>
              <a:off x="540000" y="5159986"/>
              <a:ext cx="8065628" cy="180000"/>
              <a:chOff x="540000" y="-265725"/>
              <a:chExt cx="8065628" cy="180000"/>
            </a:xfrm>
          </p:grpSpPr>
          <p:cxnSp>
            <p:nvCxnSpPr>
              <p:cNvPr id="206" name="Straight Connector 205"/>
              <p:cNvCxnSpPr/>
              <p:nvPr/>
            </p:nvCxnSpPr>
            <p:spPr bwMode="gray">
              <a:xfrm>
                <a:off x="540000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/>
              <p:cNvCxnSpPr/>
              <p:nvPr/>
            </p:nvCxnSpPr>
            <p:spPr bwMode="gray">
              <a:xfrm>
                <a:off x="1077827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/>
              <p:cNvCxnSpPr/>
              <p:nvPr/>
            </p:nvCxnSpPr>
            <p:spPr bwMode="gray">
              <a:xfrm>
                <a:off x="122875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/>
              <p:cNvCxnSpPr/>
              <p:nvPr/>
            </p:nvCxnSpPr>
            <p:spPr bwMode="gray">
              <a:xfrm>
                <a:off x="176349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/>
              <p:cNvCxnSpPr/>
              <p:nvPr/>
            </p:nvCxnSpPr>
            <p:spPr bwMode="gray">
              <a:xfrm>
                <a:off x="190489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/>
              <p:cNvCxnSpPr/>
              <p:nvPr/>
            </p:nvCxnSpPr>
            <p:spPr bwMode="gray">
              <a:xfrm>
                <a:off x="244352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/>
              <p:cNvCxnSpPr/>
              <p:nvPr/>
            </p:nvCxnSpPr>
            <p:spPr bwMode="gray">
              <a:xfrm>
                <a:off x="259444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/>
              <p:cNvCxnSpPr/>
              <p:nvPr/>
            </p:nvCxnSpPr>
            <p:spPr bwMode="gray">
              <a:xfrm>
                <a:off x="313536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/>
              <p:cNvCxnSpPr/>
              <p:nvPr/>
            </p:nvCxnSpPr>
            <p:spPr bwMode="gray">
              <a:xfrm>
                <a:off x="327676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/>
              <p:cNvCxnSpPr/>
              <p:nvPr/>
            </p:nvCxnSpPr>
            <p:spPr bwMode="gray">
              <a:xfrm>
                <a:off x="381740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/>
              <p:cNvCxnSpPr/>
              <p:nvPr/>
            </p:nvCxnSpPr>
            <p:spPr bwMode="gray">
              <a:xfrm>
                <a:off x="395880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/>
              <p:cNvCxnSpPr/>
              <p:nvPr/>
            </p:nvCxnSpPr>
            <p:spPr bwMode="gray">
              <a:xfrm>
                <a:off x="450105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/>
              <p:cNvCxnSpPr/>
              <p:nvPr/>
            </p:nvCxnSpPr>
            <p:spPr bwMode="gray">
              <a:xfrm>
                <a:off x="465198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/>
              <p:cNvCxnSpPr/>
              <p:nvPr/>
            </p:nvCxnSpPr>
            <p:spPr bwMode="gray">
              <a:xfrm>
                <a:off x="518283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/>
              <p:cNvCxnSpPr/>
              <p:nvPr/>
            </p:nvCxnSpPr>
            <p:spPr bwMode="gray">
              <a:xfrm>
                <a:off x="532423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/>
              <p:cNvCxnSpPr/>
              <p:nvPr/>
            </p:nvCxnSpPr>
            <p:spPr bwMode="gray">
              <a:xfrm>
                <a:off x="587185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/>
              <p:cNvCxnSpPr/>
              <p:nvPr/>
            </p:nvCxnSpPr>
            <p:spPr bwMode="gray">
              <a:xfrm>
                <a:off x="601325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/>
              <p:cNvCxnSpPr/>
              <p:nvPr/>
            </p:nvCxnSpPr>
            <p:spPr bwMode="gray">
              <a:xfrm>
                <a:off x="6555346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/>
              <p:cNvCxnSpPr/>
              <p:nvPr/>
            </p:nvCxnSpPr>
            <p:spPr bwMode="gray">
              <a:xfrm>
                <a:off x="669674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/>
              <p:cNvCxnSpPr/>
              <p:nvPr/>
            </p:nvCxnSpPr>
            <p:spPr bwMode="gray">
              <a:xfrm>
                <a:off x="723864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/>
              <p:cNvCxnSpPr/>
              <p:nvPr/>
            </p:nvCxnSpPr>
            <p:spPr bwMode="gray">
              <a:xfrm>
                <a:off x="7380039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/>
              <p:cNvCxnSpPr/>
              <p:nvPr/>
            </p:nvCxnSpPr>
            <p:spPr bwMode="gray">
              <a:xfrm>
                <a:off x="792253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Straight Connector 227"/>
              <p:cNvCxnSpPr/>
              <p:nvPr/>
            </p:nvCxnSpPr>
            <p:spPr bwMode="gray">
              <a:xfrm>
                <a:off x="806393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Straight Connector 228"/>
              <p:cNvCxnSpPr/>
              <p:nvPr/>
            </p:nvCxnSpPr>
            <p:spPr bwMode="gray">
              <a:xfrm>
                <a:off x="8605628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4" name="Group 173"/>
            <p:cNvGrpSpPr/>
            <p:nvPr/>
          </p:nvGrpSpPr>
          <p:grpSpPr bwMode="gray">
            <a:xfrm>
              <a:off x="-196486" y="195263"/>
              <a:ext cx="180000" cy="4752975"/>
              <a:chOff x="-180000" y="195263"/>
              <a:chExt cx="180000" cy="4752975"/>
            </a:xfrm>
          </p:grpSpPr>
          <p:cxnSp>
            <p:nvCxnSpPr>
              <p:cNvPr id="191" name="Straight Connector 190"/>
              <p:cNvCxnSpPr/>
              <p:nvPr/>
            </p:nvCxnSpPr>
            <p:spPr bwMode="gray">
              <a:xfrm>
                <a:off x="-180000" y="494823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/>
            </p:nvCxnSpPr>
            <p:spPr bwMode="gray">
              <a:xfrm>
                <a:off x="-180000" y="46243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/>
              <p:cNvCxnSpPr/>
              <p:nvPr/>
            </p:nvCxnSpPr>
            <p:spPr bwMode="gray">
              <a:xfrm>
                <a:off x="-180000" y="40814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 bwMode="gray">
              <a:xfrm>
                <a:off x="-180000" y="39385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Straight Connector 194"/>
              <p:cNvCxnSpPr/>
              <p:nvPr/>
            </p:nvCxnSpPr>
            <p:spPr bwMode="gray">
              <a:xfrm>
                <a:off x="-180000" y="33956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6" name="Straight Connector 195"/>
              <p:cNvCxnSpPr/>
              <p:nvPr/>
            </p:nvCxnSpPr>
            <p:spPr bwMode="gray">
              <a:xfrm>
                <a:off x="-180000" y="3252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Straight Connector 196"/>
              <p:cNvCxnSpPr/>
              <p:nvPr/>
            </p:nvCxnSpPr>
            <p:spPr bwMode="gray">
              <a:xfrm>
                <a:off x="-180000" y="27098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/>
            </p:nvCxnSpPr>
            <p:spPr bwMode="gray">
              <a:xfrm>
                <a:off x="-180000" y="25669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Straight Connector 198"/>
              <p:cNvCxnSpPr/>
              <p:nvPr/>
            </p:nvCxnSpPr>
            <p:spPr bwMode="gray">
              <a:xfrm>
                <a:off x="-180000" y="20240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 bwMode="gray">
              <a:xfrm>
                <a:off x="-180000" y="18811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Connector 200"/>
              <p:cNvCxnSpPr/>
              <p:nvPr/>
            </p:nvCxnSpPr>
            <p:spPr bwMode="gray">
              <a:xfrm>
                <a:off x="-180000" y="1347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/>
            </p:nvCxnSpPr>
            <p:spPr bwMode="gray">
              <a:xfrm>
                <a:off x="-180000" y="11953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/>
              <p:cNvCxnSpPr/>
              <p:nvPr/>
            </p:nvCxnSpPr>
            <p:spPr bwMode="gray">
              <a:xfrm>
                <a:off x="-180000" y="6619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/>
              <p:cNvCxnSpPr/>
              <p:nvPr/>
            </p:nvCxnSpPr>
            <p:spPr bwMode="gray">
              <a:xfrm>
                <a:off x="-180000" y="51911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Straight Connector 204"/>
              <p:cNvCxnSpPr/>
              <p:nvPr/>
            </p:nvCxnSpPr>
            <p:spPr bwMode="gray">
              <a:xfrm>
                <a:off x="-180000" y="1952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5" name="Group 174"/>
            <p:cNvGrpSpPr/>
            <p:nvPr/>
          </p:nvGrpSpPr>
          <p:grpSpPr bwMode="gray">
            <a:xfrm>
              <a:off x="9165020" y="195263"/>
              <a:ext cx="180000" cy="4752975"/>
              <a:chOff x="-180000" y="195263"/>
              <a:chExt cx="180000" cy="4752975"/>
            </a:xfrm>
          </p:grpSpPr>
          <p:cxnSp>
            <p:nvCxnSpPr>
              <p:cNvPr id="176" name="Straight Connector 175"/>
              <p:cNvCxnSpPr/>
              <p:nvPr/>
            </p:nvCxnSpPr>
            <p:spPr bwMode="gray">
              <a:xfrm>
                <a:off x="-180000" y="494823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 bwMode="gray">
              <a:xfrm>
                <a:off x="-180000" y="46243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 bwMode="gray">
              <a:xfrm>
                <a:off x="-180000" y="40814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 bwMode="gray">
              <a:xfrm>
                <a:off x="-180000" y="39385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 bwMode="gray">
              <a:xfrm>
                <a:off x="-180000" y="33956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 bwMode="gray">
              <a:xfrm>
                <a:off x="-180000" y="3252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 bwMode="gray">
              <a:xfrm>
                <a:off x="-180000" y="27098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 bwMode="gray">
              <a:xfrm>
                <a:off x="-180000" y="25669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 bwMode="gray">
              <a:xfrm>
                <a:off x="-180000" y="20240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 bwMode="gray">
              <a:xfrm>
                <a:off x="-180000" y="18811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 bwMode="gray">
              <a:xfrm>
                <a:off x="-180000" y="1347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 bwMode="gray">
              <a:xfrm>
                <a:off x="-180000" y="11953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 bwMode="gray">
              <a:xfrm>
                <a:off x="-180000" y="6619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 bwMode="gray">
              <a:xfrm>
                <a:off x="-180000" y="51911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/>
            </p:nvCxnSpPr>
            <p:spPr bwMode="gray">
              <a:xfrm>
                <a:off x="-180000" y="1952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8" name="Picture Placeholder 6">
            <a:extLst>
              <a:ext uri="{FF2B5EF4-FFF2-40B4-BE49-F238E27FC236}">
                <a16:creationId xmlns:a16="http://schemas.microsoft.com/office/drawing/2014/main" id="{0AE3AB89-9CFD-964A-A995-81C4A1F6DE4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743700" y="1066451"/>
            <a:ext cx="4728281" cy="23561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lnSpc>
                <a:spcPct val="85000"/>
              </a:lnSpc>
              <a:defRPr sz="1867"/>
            </a:lvl1pPr>
          </a:lstStyle>
          <a:p>
            <a:r>
              <a:rPr lang="en-GB"/>
              <a:t>&lt;Insert picture&gt;</a:t>
            </a:r>
          </a:p>
        </p:txBody>
      </p:sp>
      <p:sp>
        <p:nvSpPr>
          <p:cNvPr id="94" name="Slide Number Placeholder 6">
            <a:extLst>
              <a:ext uri="{FF2B5EF4-FFF2-40B4-BE49-F238E27FC236}">
                <a16:creationId xmlns:a16="http://schemas.microsoft.com/office/drawing/2014/main" id="{2B137866-A934-4F74-8145-5F65C77AD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95" name="Right Triangle 94">
            <a:extLst>
              <a:ext uri="{FF2B5EF4-FFF2-40B4-BE49-F238E27FC236}">
                <a16:creationId xmlns:a16="http://schemas.microsoft.com/office/drawing/2014/main" id="{B6B81910-9D4A-4F00-9F24-3E1F06342489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28BB50B3-91EE-4E71-9AE2-DD8399D3F283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4FAEECE1-60FC-4FCF-9300-D26E49B4CF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74176" y="1044470"/>
            <a:ext cx="5264723" cy="495646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tx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tx2"/>
              </a:buClr>
              <a:buFont typeface="Georgia" panose="02040502050405020303" pitchFamily="18" charset="0"/>
              <a:buChar char="-"/>
              <a:defRPr>
                <a:solidFill>
                  <a:schemeClr val="tx2"/>
                </a:solidFill>
                <a:latin typeface="+mj-lt"/>
              </a:defRPr>
            </a:lvl2pPr>
            <a:lvl3pPr marL="914400" indent="-228600">
              <a:buClr>
                <a:schemeClr val="tx2"/>
              </a:buClr>
              <a:buFont typeface="Courier New" panose="02070309020205020404" pitchFamily="49" charset="0"/>
              <a:buChar char="o"/>
              <a:defRPr>
                <a:solidFill>
                  <a:schemeClr val="tx2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tx2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70D33A23-55BD-4D91-955D-EA44462044F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726" y="6189145"/>
            <a:ext cx="1636288" cy="401464"/>
          </a:xfrm>
          <a:prstGeom prst="rect">
            <a:avLst/>
          </a:prstGeom>
        </p:spPr>
      </p:pic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5905CA48-A933-433F-8F42-2CCBC75310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741252" y="3644734"/>
            <a:ext cx="4728281" cy="23561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/>
          <a:lstStyle>
            <a:lvl1pPr>
              <a:lnSpc>
                <a:spcPct val="85000"/>
              </a:lnSpc>
              <a:defRPr sz="1867"/>
            </a:lvl1pPr>
          </a:lstStyle>
          <a:p>
            <a:r>
              <a:rPr lang="en-GB" dirty="0"/>
              <a:t>&lt;Insert picture&gt;</a:t>
            </a:r>
          </a:p>
        </p:txBody>
      </p:sp>
      <p:sp>
        <p:nvSpPr>
          <p:cNvPr id="104" name="Title Placeholder 1">
            <a:extLst>
              <a:ext uri="{FF2B5EF4-FFF2-40B4-BE49-F238E27FC236}">
                <a16:creationId xmlns:a16="http://schemas.microsoft.com/office/drawing/2014/main" id="{1D6F4587-A15C-4064-8347-535584B76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49015"/>
            <a:ext cx="10515600" cy="576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7033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94EABF1-F2DB-4CD3-B627-67522127CF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127886"/>
            <a:ext cx="5159829" cy="492786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2931807-CBD4-43A3-94A1-429553EB2E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3972" y="1127886"/>
            <a:ext cx="5159830" cy="492786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738B338-6575-4720-B699-80C9080A7E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726" y="6189145"/>
            <a:ext cx="1636288" cy="401464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49F9CFB3-2E36-4B7F-AE54-075F53A24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49015"/>
            <a:ext cx="10515600" cy="576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9202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 bullet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A433278-D39A-48D8-B620-46279DA516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257301"/>
            <a:ext cx="3450772" cy="479844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4772E03-16DC-4021-88F2-E77ED3D04B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52259" y="1257300"/>
            <a:ext cx="3450772" cy="479844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3A4F6D6-3501-494C-B0E8-9B7253FA71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66318" y="1257300"/>
            <a:ext cx="3287483" cy="479844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B0AE020-D61B-49A5-BD0C-7C5B28D0FC1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F89FB12-033C-46DF-B182-08345DA57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49015"/>
            <a:ext cx="10515600" cy="576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74281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lide-  Side Bar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 bwMode="gray">
          <a:xfrm>
            <a:off x="720000" y="950000"/>
            <a:ext cx="8016000" cy="0"/>
          </a:xfrm>
          <a:prstGeom prst="line">
            <a:avLst/>
          </a:prstGeom>
          <a:ln w="6350" cmpd="sng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gray">
          <a:xfrm>
            <a:off x="8928000" y="950000"/>
            <a:ext cx="2544000" cy="0"/>
          </a:xfrm>
          <a:prstGeom prst="line">
            <a:avLst/>
          </a:prstGeom>
          <a:ln w="6350" cmpd="sng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3" name="Group 92"/>
          <p:cNvGrpSpPr/>
          <p:nvPr/>
        </p:nvGrpSpPr>
        <p:grpSpPr bwMode="gray">
          <a:xfrm>
            <a:off x="-261981" y="-261982"/>
            <a:ext cx="12722008" cy="7381963"/>
            <a:chOff x="-196486" y="-196486"/>
            <a:chExt cx="9541506" cy="5536472"/>
          </a:xfrm>
        </p:grpSpPr>
        <p:grpSp>
          <p:nvGrpSpPr>
            <p:cNvPr id="94" name="Group 93"/>
            <p:cNvGrpSpPr/>
            <p:nvPr/>
          </p:nvGrpSpPr>
          <p:grpSpPr bwMode="gray">
            <a:xfrm>
              <a:off x="540000" y="-196486"/>
              <a:ext cx="8065628" cy="180000"/>
              <a:chOff x="540000" y="-265725"/>
              <a:chExt cx="8065628" cy="180000"/>
            </a:xfrm>
          </p:grpSpPr>
          <p:cxnSp>
            <p:nvCxnSpPr>
              <p:cNvPr id="235" name="Straight Connector 234"/>
              <p:cNvCxnSpPr/>
              <p:nvPr/>
            </p:nvCxnSpPr>
            <p:spPr bwMode="gray">
              <a:xfrm>
                <a:off x="540000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Straight Connector 235"/>
              <p:cNvCxnSpPr/>
              <p:nvPr/>
            </p:nvCxnSpPr>
            <p:spPr bwMode="gray">
              <a:xfrm>
                <a:off x="1077827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Straight Connector 236"/>
              <p:cNvCxnSpPr/>
              <p:nvPr/>
            </p:nvCxnSpPr>
            <p:spPr bwMode="gray">
              <a:xfrm>
                <a:off x="122875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237"/>
              <p:cNvCxnSpPr/>
              <p:nvPr/>
            </p:nvCxnSpPr>
            <p:spPr bwMode="gray">
              <a:xfrm>
                <a:off x="176349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238"/>
              <p:cNvCxnSpPr/>
              <p:nvPr/>
            </p:nvCxnSpPr>
            <p:spPr bwMode="gray">
              <a:xfrm>
                <a:off x="190489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0" name="Straight Connector 239"/>
              <p:cNvCxnSpPr/>
              <p:nvPr/>
            </p:nvCxnSpPr>
            <p:spPr bwMode="gray">
              <a:xfrm>
                <a:off x="244352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1" name="Straight Connector 240"/>
              <p:cNvCxnSpPr/>
              <p:nvPr/>
            </p:nvCxnSpPr>
            <p:spPr bwMode="gray">
              <a:xfrm>
                <a:off x="259444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/>
            </p:nvCxnSpPr>
            <p:spPr bwMode="gray">
              <a:xfrm>
                <a:off x="313536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Straight Connector 242"/>
              <p:cNvCxnSpPr/>
              <p:nvPr/>
            </p:nvCxnSpPr>
            <p:spPr bwMode="gray">
              <a:xfrm>
                <a:off x="327676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Straight Connector 243"/>
              <p:cNvCxnSpPr/>
              <p:nvPr/>
            </p:nvCxnSpPr>
            <p:spPr bwMode="gray">
              <a:xfrm>
                <a:off x="381740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5" name="Straight Connector 244"/>
              <p:cNvCxnSpPr/>
              <p:nvPr/>
            </p:nvCxnSpPr>
            <p:spPr bwMode="gray">
              <a:xfrm>
                <a:off x="395880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Straight Connector 245"/>
              <p:cNvCxnSpPr/>
              <p:nvPr/>
            </p:nvCxnSpPr>
            <p:spPr bwMode="gray">
              <a:xfrm>
                <a:off x="450105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/>
              <p:cNvCxnSpPr/>
              <p:nvPr/>
            </p:nvCxnSpPr>
            <p:spPr bwMode="gray">
              <a:xfrm>
                <a:off x="465198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8" name="Straight Connector 247"/>
              <p:cNvCxnSpPr/>
              <p:nvPr/>
            </p:nvCxnSpPr>
            <p:spPr bwMode="gray">
              <a:xfrm>
                <a:off x="518283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9" name="Straight Connector 248"/>
              <p:cNvCxnSpPr/>
              <p:nvPr/>
            </p:nvCxnSpPr>
            <p:spPr bwMode="gray">
              <a:xfrm>
                <a:off x="532423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/>
              <p:cNvCxnSpPr/>
              <p:nvPr/>
            </p:nvCxnSpPr>
            <p:spPr bwMode="gray">
              <a:xfrm>
                <a:off x="587185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Straight Connector 250"/>
              <p:cNvCxnSpPr/>
              <p:nvPr/>
            </p:nvCxnSpPr>
            <p:spPr bwMode="gray">
              <a:xfrm>
                <a:off x="601325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2" name="Straight Connector 251"/>
              <p:cNvCxnSpPr/>
              <p:nvPr/>
            </p:nvCxnSpPr>
            <p:spPr bwMode="gray">
              <a:xfrm>
                <a:off x="6555346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3" name="Straight Connector 252"/>
              <p:cNvCxnSpPr/>
              <p:nvPr/>
            </p:nvCxnSpPr>
            <p:spPr bwMode="gray">
              <a:xfrm>
                <a:off x="669674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 bwMode="gray">
              <a:xfrm>
                <a:off x="723864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/>
              <p:cNvCxnSpPr/>
              <p:nvPr/>
            </p:nvCxnSpPr>
            <p:spPr bwMode="gray">
              <a:xfrm>
                <a:off x="7380039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Connector 255"/>
              <p:cNvCxnSpPr/>
              <p:nvPr/>
            </p:nvCxnSpPr>
            <p:spPr bwMode="gray">
              <a:xfrm>
                <a:off x="792253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/>
              <p:cNvCxnSpPr/>
              <p:nvPr/>
            </p:nvCxnSpPr>
            <p:spPr bwMode="gray">
              <a:xfrm>
                <a:off x="806393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/>
            </p:nvCxnSpPr>
            <p:spPr bwMode="gray">
              <a:xfrm>
                <a:off x="8605628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Group 94"/>
            <p:cNvGrpSpPr/>
            <p:nvPr/>
          </p:nvGrpSpPr>
          <p:grpSpPr bwMode="gray">
            <a:xfrm>
              <a:off x="540000" y="5159986"/>
              <a:ext cx="8065628" cy="180000"/>
              <a:chOff x="540000" y="-265725"/>
              <a:chExt cx="8065628" cy="180000"/>
            </a:xfrm>
          </p:grpSpPr>
          <p:cxnSp>
            <p:nvCxnSpPr>
              <p:cNvPr id="211" name="Straight Connector 210"/>
              <p:cNvCxnSpPr/>
              <p:nvPr/>
            </p:nvCxnSpPr>
            <p:spPr bwMode="gray">
              <a:xfrm>
                <a:off x="540000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Straight Connector 211"/>
              <p:cNvCxnSpPr/>
              <p:nvPr/>
            </p:nvCxnSpPr>
            <p:spPr bwMode="gray">
              <a:xfrm>
                <a:off x="1077827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Straight Connector 212"/>
              <p:cNvCxnSpPr/>
              <p:nvPr/>
            </p:nvCxnSpPr>
            <p:spPr bwMode="gray">
              <a:xfrm>
                <a:off x="122875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/>
              <p:cNvCxnSpPr/>
              <p:nvPr/>
            </p:nvCxnSpPr>
            <p:spPr bwMode="gray">
              <a:xfrm>
                <a:off x="176349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/>
              <p:cNvCxnSpPr/>
              <p:nvPr/>
            </p:nvCxnSpPr>
            <p:spPr bwMode="gray">
              <a:xfrm>
                <a:off x="190489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6" name="Straight Connector 215"/>
              <p:cNvCxnSpPr/>
              <p:nvPr/>
            </p:nvCxnSpPr>
            <p:spPr bwMode="gray">
              <a:xfrm>
                <a:off x="244352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/>
              <p:cNvCxnSpPr/>
              <p:nvPr/>
            </p:nvCxnSpPr>
            <p:spPr bwMode="gray">
              <a:xfrm>
                <a:off x="259444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/>
              <p:cNvCxnSpPr/>
              <p:nvPr/>
            </p:nvCxnSpPr>
            <p:spPr bwMode="gray">
              <a:xfrm>
                <a:off x="3135361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/>
              <p:cNvCxnSpPr/>
              <p:nvPr/>
            </p:nvCxnSpPr>
            <p:spPr bwMode="gray">
              <a:xfrm>
                <a:off x="327676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/>
              <p:cNvCxnSpPr/>
              <p:nvPr/>
            </p:nvCxnSpPr>
            <p:spPr bwMode="gray">
              <a:xfrm>
                <a:off x="381740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/>
              <p:cNvCxnSpPr/>
              <p:nvPr/>
            </p:nvCxnSpPr>
            <p:spPr bwMode="gray">
              <a:xfrm>
                <a:off x="395880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/>
              <p:cNvCxnSpPr/>
              <p:nvPr/>
            </p:nvCxnSpPr>
            <p:spPr bwMode="gray">
              <a:xfrm>
                <a:off x="4501058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/>
              <p:cNvCxnSpPr/>
              <p:nvPr/>
            </p:nvCxnSpPr>
            <p:spPr bwMode="gray">
              <a:xfrm>
                <a:off x="465198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/>
              <p:cNvCxnSpPr/>
              <p:nvPr/>
            </p:nvCxnSpPr>
            <p:spPr bwMode="gray">
              <a:xfrm>
                <a:off x="518283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/>
              <p:cNvCxnSpPr/>
              <p:nvPr/>
            </p:nvCxnSpPr>
            <p:spPr bwMode="gray">
              <a:xfrm>
                <a:off x="532423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/>
              <p:cNvCxnSpPr/>
              <p:nvPr/>
            </p:nvCxnSpPr>
            <p:spPr bwMode="gray">
              <a:xfrm>
                <a:off x="5871853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/>
              <p:cNvCxnSpPr/>
              <p:nvPr/>
            </p:nvCxnSpPr>
            <p:spPr bwMode="gray">
              <a:xfrm>
                <a:off x="6013252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8" name="Straight Connector 227"/>
              <p:cNvCxnSpPr/>
              <p:nvPr/>
            </p:nvCxnSpPr>
            <p:spPr bwMode="gray">
              <a:xfrm>
                <a:off x="6555346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9" name="Straight Connector 228"/>
              <p:cNvCxnSpPr/>
              <p:nvPr/>
            </p:nvCxnSpPr>
            <p:spPr bwMode="gray">
              <a:xfrm>
                <a:off x="669674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Straight Connector 229"/>
              <p:cNvCxnSpPr/>
              <p:nvPr/>
            </p:nvCxnSpPr>
            <p:spPr bwMode="gray">
              <a:xfrm>
                <a:off x="7238640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/>
              <p:cNvCxnSpPr/>
              <p:nvPr/>
            </p:nvCxnSpPr>
            <p:spPr bwMode="gray">
              <a:xfrm>
                <a:off x="7380039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Straight Connector 231"/>
              <p:cNvCxnSpPr/>
              <p:nvPr/>
            </p:nvCxnSpPr>
            <p:spPr bwMode="gray">
              <a:xfrm>
                <a:off x="7922535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3" name="Straight Connector 232"/>
              <p:cNvCxnSpPr/>
              <p:nvPr/>
            </p:nvCxnSpPr>
            <p:spPr bwMode="gray">
              <a:xfrm>
                <a:off x="8063934" y="-265725"/>
                <a:ext cx="0" cy="18000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/>
              <p:cNvCxnSpPr/>
              <p:nvPr/>
            </p:nvCxnSpPr>
            <p:spPr bwMode="gray">
              <a:xfrm>
                <a:off x="8605628" y="-265725"/>
                <a:ext cx="0" cy="18000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6" name="Group 95"/>
            <p:cNvGrpSpPr/>
            <p:nvPr/>
          </p:nvGrpSpPr>
          <p:grpSpPr bwMode="gray">
            <a:xfrm>
              <a:off x="-196486" y="195263"/>
              <a:ext cx="180000" cy="4752975"/>
              <a:chOff x="-180000" y="195263"/>
              <a:chExt cx="180000" cy="4752975"/>
            </a:xfrm>
          </p:grpSpPr>
          <p:cxnSp>
            <p:nvCxnSpPr>
              <p:cNvPr id="196" name="Straight Connector 195"/>
              <p:cNvCxnSpPr/>
              <p:nvPr/>
            </p:nvCxnSpPr>
            <p:spPr bwMode="gray">
              <a:xfrm>
                <a:off x="-180000" y="494823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Straight Connector 196"/>
              <p:cNvCxnSpPr/>
              <p:nvPr/>
            </p:nvCxnSpPr>
            <p:spPr bwMode="gray">
              <a:xfrm>
                <a:off x="-180000" y="46243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/>
            </p:nvCxnSpPr>
            <p:spPr bwMode="gray">
              <a:xfrm>
                <a:off x="-180000" y="40814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Straight Connector 198"/>
              <p:cNvCxnSpPr/>
              <p:nvPr/>
            </p:nvCxnSpPr>
            <p:spPr bwMode="gray">
              <a:xfrm>
                <a:off x="-180000" y="39385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Straight Connector 199"/>
              <p:cNvCxnSpPr/>
              <p:nvPr/>
            </p:nvCxnSpPr>
            <p:spPr bwMode="gray">
              <a:xfrm>
                <a:off x="-180000" y="33956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Connector 200"/>
              <p:cNvCxnSpPr/>
              <p:nvPr/>
            </p:nvCxnSpPr>
            <p:spPr bwMode="gray">
              <a:xfrm>
                <a:off x="-180000" y="3252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/>
            </p:nvCxnSpPr>
            <p:spPr bwMode="gray">
              <a:xfrm>
                <a:off x="-180000" y="27098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/>
              <p:cNvCxnSpPr/>
              <p:nvPr/>
            </p:nvCxnSpPr>
            <p:spPr bwMode="gray">
              <a:xfrm>
                <a:off x="-180000" y="25669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/>
              <p:cNvCxnSpPr/>
              <p:nvPr/>
            </p:nvCxnSpPr>
            <p:spPr bwMode="gray">
              <a:xfrm>
                <a:off x="-180000" y="20240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Straight Connector 204"/>
              <p:cNvCxnSpPr/>
              <p:nvPr/>
            </p:nvCxnSpPr>
            <p:spPr bwMode="gray">
              <a:xfrm>
                <a:off x="-180000" y="18811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/>
              <p:cNvCxnSpPr/>
              <p:nvPr/>
            </p:nvCxnSpPr>
            <p:spPr bwMode="gray">
              <a:xfrm>
                <a:off x="-180000" y="1347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/>
              <p:cNvCxnSpPr/>
              <p:nvPr/>
            </p:nvCxnSpPr>
            <p:spPr bwMode="gray">
              <a:xfrm>
                <a:off x="-180000" y="11953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/>
              <p:cNvCxnSpPr/>
              <p:nvPr/>
            </p:nvCxnSpPr>
            <p:spPr bwMode="gray">
              <a:xfrm>
                <a:off x="-180000" y="6619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Straight Connector 208"/>
              <p:cNvCxnSpPr/>
              <p:nvPr/>
            </p:nvCxnSpPr>
            <p:spPr bwMode="gray">
              <a:xfrm>
                <a:off x="-180000" y="51911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/>
              <p:cNvCxnSpPr/>
              <p:nvPr/>
            </p:nvCxnSpPr>
            <p:spPr bwMode="gray">
              <a:xfrm>
                <a:off x="-180000" y="1952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oup 96"/>
            <p:cNvGrpSpPr/>
            <p:nvPr/>
          </p:nvGrpSpPr>
          <p:grpSpPr bwMode="gray">
            <a:xfrm>
              <a:off x="9165020" y="195263"/>
              <a:ext cx="180000" cy="4752975"/>
              <a:chOff x="-180000" y="195263"/>
              <a:chExt cx="180000" cy="4752975"/>
            </a:xfrm>
          </p:grpSpPr>
          <p:cxnSp>
            <p:nvCxnSpPr>
              <p:cNvPr id="181" name="Straight Connector 180"/>
              <p:cNvCxnSpPr/>
              <p:nvPr/>
            </p:nvCxnSpPr>
            <p:spPr bwMode="gray">
              <a:xfrm>
                <a:off x="-180000" y="494823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 bwMode="gray">
              <a:xfrm>
                <a:off x="-180000" y="46243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 bwMode="gray">
              <a:xfrm>
                <a:off x="-180000" y="40814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 bwMode="gray">
              <a:xfrm>
                <a:off x="-180000" y="39385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 bwMode="gray">
              <a:xfrm>
                <a:off x="-180000" y="33956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 bwMode="gray">
              <a:xfrm>
                <a:off x="-180000" y="3252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 bwMode="gray">
              <a:xfrm>
                <a:off x="-180000" y="27098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 bwMode="gray">
              <a:xfrm>
                <a:off x="-180000" y="25669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 bwMode="gray">
              <a:xfrm>
                <a:off x="-180000" y="20240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/>
            </p:nvCxnSpPr>
            <p:spPr bwMode="gray">
              <a:xfrm>
                <a:off x="-180000" y="18811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 bwMode="gray">
              <a:xfrm>
                <a:off x="-180000" y="13477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/>
            </p:nvCxnSpPr>
            <p:spPr bwMode="gray">
              <a:xfrm>
                <a:off x="-180000" y="1195388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/>
              <p:cNvCxnSpPr/>
              <p:nvPr/>
            </p:nvCxnSpPr>
            <p:spPr bwMode="gray">
              <a:xfrm>
                <a:off x="-180000" y="661988"/>
                <a:ext cx="180000" cy="0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 bwMode="gray">
              <a:xfrm>
                <a:off x="-180000" y="51911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Straight Connector 194"/>
              <p:cNvCxnSpPr/>
              <p:nvPr/>
            </p:nvCxnSpPr>
            <p:spPr bwMode="gray">
              <a:xfrm>
                <a:off x="-180000" y="195263"/>
                <a:ext cx="180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0" name="Slide Number Placeholder 6">
            <a:extLst>
              <a:ext uri="{FF2B5EF4-FFF2-40B4-BE49-F238E27FC236}">
                <a16:creationId xmlns:a16="http://schemas.microsoft.com/office/drawing/2014/main" id="{4C0E4CE9-784C-4C0D-A514-9366D0508303}"/>
              </a:ext>
            </a:extLst>
          </p:cNvPr>
          <p:cNvSpPr txBox="1">
            <a:spLocks/>
          </p:cNvSpPr>
          <p:nvPr/>
        </p:nvSpPr>
        <p:spPr>
          <a:xfrm>
            <a:off x="11250088" y="6165387"/>
            <a:ext cx="522185" cy="681038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A1F2A9D-2A20-154F-9C67-DD19750049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1" name="Right Triangle 100">
            <a:extLst>
              <a:ext uri="{FF2B5EF4-FFF2-40B4-BE49-F238E27FC236}">
                <a16:creationId xmlns:a16="http://schemas.microsoft.com/office/drawing/2014/main" id="{FB6EFAF4-3171-4E04-BE64-7109FB750EA6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46169CF-ED6F-40DB-A3C6-D1241EFA5CA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Picture 102">
            <a:extLst>
              <a:ext uri="{FF2B5EF4-FFF2-40B4-BE49-F238E27FC236}">
                <a16:creationId xmlns:a16="http://schemas.microsoft.com/office/drawing/2014/main" id="{B204228C-2C87-453E-BD05-86C44DC4B93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726" y="6189145"/>
            <a:ext cx="1636288" cy="401464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333800-587C-4B46-8C84-9FB305A7CE9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20000" y="1198308"/>
            <a:ext cx="8026400" cy="4716825"/>
          </a:xfrm>
        </p:spPr>
        <p:txBody>
          <a:bodyPr/>
          <a:lstStyle>
            <a:lvl1pPr marL="228600" indent="-228600">
              <a:buClr>
                <a:schemeClr val="accent3"/>
              </a:buClr>
              <a:buFont typeface="Times New Roman" panose="02020603050405020304" pitchFamily="18" charset="0"/>
              <a:buChar char="⁄"/>
              <a:defRPr b="1">
                <a:solidFill>
                  <a:schemeClr val="tx2"/>
                </a:solidFill>
                <a:latin typeface="+mj-lt"/>
              </a:defRPr>
            </a:lvl1pPr>
            <a:lvl2pPr marL="800100" indent="-342900">
              <a:buClr>
                <a:schemeClr val="tx2"/>
              </a:buClr>
              <a:buFont typeface="Times New Roman" panose="02020603050405020304" pitchFamily="18" charset="0"/>
              <a:buChar char="‾"/>
              <a:defRPr/>
            </a:lvl2pPr>
            <a:lvl3pPr marL="1143000" indent="-228600">
              <a:buClr>
                <a:schemeClr val="tx2"/>
              </a:buClr>
              <a:buFont typeface="Courier New" panose="02070309020205020404" pitchFamily="49" charset="0"/>
              <a:buChar char="o"/>
              <a:defRPr/>
            </a:lvl3pPr>
            <a:lvl5pPr marL="2057400" indent="-228600">
              <a:buClr>
                <a:schemeClr val="tx2"/>
              </a:buClr>
              <a:buFont typeface="Times New Roman" panose="02020603050405020304" pitchFamily="18" charset="0"/>
              <a:buChar char="⁻"/>
              <a:defRPr/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98" name="Content Placeholder 3">
            <a:extLst>
              <a:ext uri="{FF2B5EF4-FFF2-40B4-BE49-F238E27FC236}">
                <a16:creationId xmlns:a16="http://schemas.microsoft.com/office/drawing/2014/main" id="{3CE225FA-6BDC-4AC8-A225-2E9648C89279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928000" y="1198308"/>
            <a:ext cx="2544001" cy="4716825"/>
          </a:xfrm>
        </p:spPr>
        <p:txBody>
          <a:bodyPr/>
          <a:lstStyle>
            <a:lvl1pPr marL="228600" indent="-228600">
              <a:buClr>
                <a:schemeClr val="accent3"/>
              </a:buClr>
              <a:buFont typeface="Times New Roman" panose="02020603050405020304" pitchFamily="18" charset="0"/>
              <a:buChar char="⁄"/>
              <a:defRPr sz="2000" b="1">
                <a:solidFill>
                  <a:schemeClr val="tx2"/>
                </a:solidFill>
                <a:latin typeface="+mj-lt"/>
              </a:defRPr>
            </a:lvl1pPr>
            <a:lvl2pPr marL="800100" indent="-342900">
              <a:buClr>
                <a:schemeClr val="tx2"/>
              </a:buClr>
              <a:buFont typeface="Times New Roman" panose="02020603050405020304" pitchFamily="18" charset="0"/>
              <a:buChar char="‾"/>
              <a:defRPr sz="1800"/>
            </a:lvl2pPr>
            <a:lvl3pPr marL="1143000" indent="-228600">
              <a:buClr>
                <a:schemeClr val="tx2"/>
              </a:buClr>
              <a:buFont typeface="Courier New" panose="02070309020205020404" pitchFamily="49" charset="0"/>
              <a:buChar char="o"/>
              <a:defRPr sz="1600"/>
            </a:lvl3pPr>
            <a:lvl4pPr marL="1371600" indent="0">
              <a:buNone/>
              <a:defRPr sz="1400"/>
            </a:lvl4pPr>
            <a:lvl5pPr marL="2057400" indent="-228600">
              <a:buClr>
                <a:schemeClr val="tx2"/>
              </a:buClr>
              <a:buFont typeface="Times New Roman" panose="02020603050405020304" pitchFamily="18" charset="0"/>
              <a:buChar char="⁻"/>
              <a:defRPr sz="1400"/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4"/>
            <a:endParaRPr lang="en-US" dirty="0"/>
          </a:p>
        </p:txBody>
      </p:sp>
      <p:sp>
        <p:nvSpPr>
          <p:cNvPr id="99" name="Title Placeholder 1">
            <a:extLst>
              <a:ext uri="{FF2B5EF4-FFF2-40B4-BE49-F238E27FC236}">
                <a16:creationId xmlns:a16="http://schemas.microsoft.com/office/drawing/2014/main" id="{EE740FA8-12BE-4E07-BC95-A7359E67C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49015"/>
            <a:ext cx="10515600" cy="5768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068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ers -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ED22A43D-677B-4ADC-B277-B38ABA8D682C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941E4F-B1AF-4637-85C7-C674FC251EF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847024-63B7-4272-B72D-DEA3032F9925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E75DAE1-9EE4-45AA-9F0D-DA08A5A6576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53133" y="1539466"/>
            <a:ext cx="2666628" cy="389767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1011975-9D23-4268-9783-9B366861FEB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953133" y="1979866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A99FB7-8011-42B8-B9AC-B453B46B633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708531" y="1539465"/>
            <a:ext cx="1144837" cy="1061797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40">
            <a:extLst>
              <a:ext uri="{FF2B5EF4-FFF2-40B4-BE49-F238E27FC236}">
                <a16:creationId xmlns:a16="http://schemas.microsoft.com/office/drawing/2014/main" id="{D683353C-4EC7-4FB6-B840-7BFB7A48D2E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53133" y="2977167"/>
            <a:ext cx="2666628" cy="389767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B60A526-400F-4A2E-B461-4BC2CD18AA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53133" y="3417567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7F0B22D9-94FB-4895-8CAD-F99AF48C495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708531" y="2977166"/>
            <a:ext cx="1144837" cy="1061797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40">
            <a:extLst>
              <a:ext uri="{FF2B5EF4-FFF2-40B4-BE49-F238E27FC236}">
                <a16:creationId xmlns:a16="http://schemas.microsoft.com/office/drawing/2014/main" id="{9DB0834C-D2FA-4DA9-8A25-336F245FC8B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53133" y="4417958"/>
            <a:ext cx="2666628" cy="389767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802F07E2-A048-4277-BF40-0B25AE9CC9B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953133" y="4858358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33206C84-D473-4DED-9C54-44FA85B65373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708531" y="4417957"/>
            <a:ext cx="1144837" cy="1061797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Text Placeholder 40">
            <a:extLst>
              <a:ext uri="{FF2B5EF4-FFF2-40B4-BE49-F238E27FC236}">
                <a16:creationId xmlns:a16="http://schemas.microsoft.com/office/drawing/2014/main" id="{64DC9D70-3F5F-4714-BCD2-11BCB699ED8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98718" y="1539466"/>
            <a:ext cx="2666628" cy="389767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1C4511E-3133-4B96-9771-5F52EB9532C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798718" y="1979866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2F47A112-4A47-41D2-B130-99EA0563E8C9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554116" y="1539465"/>
            <a:ext cx="1144837" cy="1061797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8CE43A86-30B0-4700-9293-F74F7DC5ADA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798718" y="2977167"/>
            <a:ext cx="2666628" cy="389767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1B4A941C-5365-407F-8FD5-33B15AED704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98718" y="3417567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96B7EC96-31EE-4A08-867C-A67D0B8C862B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554116" y="2977166"/>
            <a:ext cx="1144837" cy="1061797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4499BB90-682F-4007-A142-E2204AC6628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798718" y="4417958"/>
            <a:ext cx="2666628" cy="389767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5C1B786A-4F71-405A-A089-B8B9303E3EF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798718" y="4858358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BA8F1818-0E97-4120-B076-485406C0B230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554116" y="4417957"/>
            <a:ext cx="1144837" cy="1061797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2219A68D-5910-4075-B5E7-AAEE496FF8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2828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ers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ED22A43D-677B-4ADC-B277-B38ABA8D682C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941E4F-B1AF-4637-85C7-C674FC251EF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847024-63B7-4272-B72D-DEA3032F9925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9E75DAE1-9EE4-45AA-9F0D-DA08A5A6576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51447" y="2782175"/>
            <a:ext cx="2336122" cy="720273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1011975-9D23-4268-9783-9B366861FEB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851447" y="3631230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A99FB7-8011-42B8-B9AC-B453B46B633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6845" y="2782174"/>
            <a:ext cx="1144837" cy="1307184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Text Placeholder 40">
            <a:extLst>
              <a:ext uri="{FF2B5EF4-FFF2-40B4-BE49-F238E27FC236}">
                <a16:creationId xmlns:a16="http://schemas.microsoft.com/office/drawing/2014/main" id="{A43BCDA1-5CE8-40D3-8AA2-E0E72DCA58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83480" y="2792069"/>
            <a:ext cx="2336122" cy="720273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EBB8D1E-9835-4037-B17A-17E046642D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83480" y="3641124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40AE8894-0BAD-46D5-8237-3AB6F37D3F9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438878" y="2792068"/>
            <a:ext cx="1144837" cy="1307184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9B923F9A-17A1-4B92-BFC9-D0721D0B5F9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15513" y="2794823"/>
            <a:ext cx="2336122" cy="720273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24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BC8CC244-D220-4F70-AD1F-CE2BEA8F4F3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15513" y="3643878"/>
            <a:ext cx="2336122" cy="485368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3FAF16A4-9D90-48B4-9E80-76C65C345C2D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270911" y="2794822"/>
            <a:ext cx="1144837" cy="1307184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0F655EB-3E61-4226-8DC2-E7CFD92D7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67591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ers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8">
            <a:extLst>
              <a:ext uri="{FF2B5EF4-FFF2-40B4-BE49-F238E27FC236}">
                <a16:creationId xmlns:a16="http://schemas.microsoft.com/office/drawing/2014/main" id="{ED22A43D-677B-4ADC-B277-B38ABA8D682C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847024-63B7-4272-B72D-DEA3032F9925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BD93FE4-0314-4936-A24A-9C8F9ECCFEE7}"/>
              </a:ext>
            </a:extLst>
          </p:cNvPr>
          <p:cNvCxnSpPr>
            <a:cxnSpLocks/>
          </p:cNvCxnSpPr>
          <p:nvPr/>
        </p:nvCxnSpPr>
        <p:spPr>
          <a:xfrm flipV="1">
            <a:off x="3678572" y="2367244"/>
            <a:ext cx="4837467" cy="22549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93AC2B6D-CAB1-4613-AD1B-1C800AF1205A}"/>
              </a:ext>
            </a:extLst>
          </p:cNvPr>
          <p:cNvCxnSpPr>
            <a:cxnSpLocks/>
          </p:cNvCxnSpPr>
          <p:nvPr/>
        </p:nvCxnSpPr>
        <p:spPr>
          <a:xfrm flipH="1">
            <a:off x="6078791" y="3875156"/>
            <a:ext cx="4837" cy="333829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D571B0C-F1ED-4F75-8BA7-0C643C493AE1}"/>
              </a:ext>
            </a:extLst>
          </p:cNvPr>
          <p:cNvCxnSpPr>
            <a:cxnSpLocks/>
          </p:cNvCxnSpPr>
          <p:nvPr/>
        </p:nvCxnSpPr>
        <p:spPr>
          <a:xfrm flipH="1">
            <a:off x="3770164" y="3875156"/>
            <a:ext cx="4837" cy="333829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2CD8CC6-54EE-4189-B32E-A4D77A525D57}"/>
              </a:ext>
            </a:extLst>
          </p:cNvPr>
          <p:cNvCxnSpPr>
            <a:cxnSpLocks/>
          </p:cNvCxnSpPr>
          <p:nvPr/>
        </p:nvCxnSpPr>
        <p:spPr>
          <a:xfrm flipH="1">
            <a:off x="10698144" y="3844536"/>
            <a:ext cx="4837" cy="333829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2BC2DA0-5A1A-492D-8142-0B829C53020D}"/>
              </a:ext>
            </a:extLst>
          </p:cNvPr>
          <p:cNvCxnSpPr>
            <a:cxnSpLocks/>
          </p:cNvCxnSpPr>
          <p:nvPr/>
        </p:nvCxnSpPr>
        <p:spPr>
          <a:xfrm flipH="1">
            <a:off x="1446524" y="3863228"/>
            <a:ext cx="4837" cy="333829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B674ABAB-7EE6-4E28-A6B0-A36D10C774C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895289" y="1995758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BDE32938-3388-4DB8-A0C7-169090C1824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3312964" y="1995758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8" name="Picture Placeholder 4">
            <a:extLst>
              <a:ext uri="{FF2B5EF4-FFF2-40B4-BE49-F238E27FC236}">
                <a16:creationId xmlns:a16="http://schemas.microsoft.com/office/drawing/2014/main" id="{D9728E76-8861-43C5-8706-13FEE5C96400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995451" y="3979904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CD22225A-8D73-4915-B512-2F5ED5E319FD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3277940" y="3979904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4" name="Picture Placeholder 4">
            <a:extLst>
              <a:ext uri="{FF2B5EF4-FFF2-40B4-BE49-F238E27FC236}">
                <a16:creationId xmlns:a16="http://schemas.microsoft.com/office/drawing/2014/main" id="{8FD5E0D5-6FC8-4E67-9E0E-C3F0E9DF4B7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5597647" y="3979534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0" name="Picture Placeholder 4">
            <a:extLst>
              <a:ext uri="{FF2B5EF4-FFF2-40B4-BE49-F238E27FC236}">
                <a16:creationId xmlns:a16="http://schemas.microsoft.com/office/drawing/2014/main" id="{9BD1D703-F13E-4C7C-A5B6-9AB563C465C7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0198823" y="3919274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941E4F-B1AF-4637-85C7-C674FC251EF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A710205-9E81-483A-A89D-9E537A4A9AF8}"/>
              </a:ext>
            </a:extLst>
          </p:cNvPr>
          <p:cNvCxnSpPr>
            <a:cxnSpLocks/>
          </p:cNvCxnSpPr>
          <p:nvPr/>
        </p:nvCxnSpPr>
        <p:spPr>
          <a:xfrm flipV="1">
            <a:off x="1445862" y="3852435"/>
            <a:ext cx="9254708" cy="16175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C9573A0-5BB9-469A-8293-2A9289816CE2}"/>
              </a:ext>
            </a:extLst>
          </p:cNvPr>
          <p:cNvCxnSpPr>
            <a:cxnSpLocks/>
          </p:cNvCxnSpPr>
          <p:nvPr/>
        </p:nvCxnSpPr>
        <p:spPr>
          <a:xfrm flipH="1">
            <a:off x="8357662" y="3830352"/>
            <a:ext cx="4837" cy="333829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7" name="Picture Placeholder 4">
            <a:extLst>
              <a:ext uri="{FF2B5EF4-FFF2-40B4-BE49-F238E27FC236}">
                <a16:creationId xmlns:a16="http://schemas.microsoft.com/office/drawing/2014/main" id="{AAEA421C-1C40-4A29-B37B-AE3952EF9F99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7917354" y="3979534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6497B661-622C-46FE-8314-B8D09E35EAE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92733" y="5306460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6324B139-9458-45EF-91D4-653C5554B32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775222" y="5306460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DF15FF67-38F7-44C7-ADAD-8E0397FD4D4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094929" y="5306090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DA1C478C-37C6-43B8-88C6-4934A038795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389738" y="5290285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0C7893E4-4E81-4BB9-BB09-0CEB13ED5B3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696105" y="5245830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B0E70963-FF56-4DD8-B131-740A804602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38146" y="2560546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DE22C3AD-C653-4BF2-B0F3-B3DAF72A7BA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23968" y="3344571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B4FF2BDB-9E8B-4048-8589-2C9C691A553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407490" y="3298238"/>
            <a:ext cx="1919836" cy="507864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First &amp; Last name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1402C70-3364-4006-A897-7F7D8C5C7806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8BC8538-9CEA-40C2-9684-3624CAA839BD}"/>
              </a:ext>
            </a:extLst>
          </p:cNvPr>
          <p:cNvCxnSpPr>
            <a:cxnSpLocks/>
          </p:cNvCxnSpPr>
          <p:nvPr/>
        </p:nvCxnSpPr>
        <p:spPr>
          <a:xfrm flipH="1">
            <a:off x="6096000" y="1890736"/>
            <a:ext cx="4837" cy="333829"/>
          </a:xfrm>
          <a:prstGeom prst="straightConnector1">
            <a:avLst/>
          </a:prstGeom>
          <a:ln w="3175">
            <a:solidFill>
              <a:schemeClr val="accent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5" name="Picture Placeholder 4">
            <a:extLst>
              <a:ext uri="{FF2B5EF4-FFF2-40B4-BE49-F238E27FC236}">
                <a16:creationId xmlns:a16="http://schemas.microsoft.com/office/drawing/2014/main" id="{88868D0D-5585-4C97-B6DB-A677459C8FB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5638800" y="1190022"/>
            <a:ext cx="914400" cy="914400"/>
          </a:xfrm>
          <a:prstGeom prst="flowChartConnector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9" name="Text Placeholder 40">
            <a:extLst>
              <a:ext uri="{FF2B5EF4-FFF2-40B4-BE49-F238E27FC236}">
                <a16:creationId xmlns:a16="http://schemas.microsoft.com/office/drawing/2014/main" id="{A1C93FC6-1C6C-4AEF-A4AB-FBFE1D8F586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2732" y="4964712"/>
            <a:ext cx="1919835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3DADE990-551C-45A6-A9CB-C135E4C3D2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775221" y="4964712"/>
            <a:ext cx="1919835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2399A8FC-2549-410E-805C-5D163B50419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094928" y="4964342"/>
            <a:ext cx="1919835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68" name="Text Placeholder 40">
            <a:extLst>
              <a:ext uri="{FF2B5EF4-FFF2-40B4-BE49-F238E27FC236}">
                <a16:creationId xmlns:a16="http://schemas.microsoft.com/office/drawing/2014/main" id="{CD887798-8F86-448D-A7E5-BD16D48F5B2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389737" y="4948537"/>
            <a:ext cx="1919835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71" name="Text Placeholder 40">
            <a:extLst>
              <a:ext uri="{FF2B5EF4-FFF2-40B4-BE49-F238E27FC236}">
                <a16:creationId xmlns:a16="http://schemas.microsoft.com/office/drawing/2014/main" id="{18F9878B-4EA5-4576-8721-4193357987A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696104" y="4904082"/>
            <a:ext cx="1919835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46" name="Text Placeholder 40">
            <a:extLst>
              <a:ext uri="{FF2B5EF4-FFF2-40B4-BE49-F238E27FC236}">
                <a16:creationId xmlns:a16="http://schemas.microsoft.com/office/drawing/2014/main" id="{D3B418F3-4419-4CFC-903E-21B624EDA68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8146" y="2218798"/>
            <a:ext cx="1902520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50" name="Text Placeholder 40">
            <a:extLst>
              <a:ext uri="{FF2B5EF4-FFF2-40B4-BE49-F238E27FC236}">
                <a16:creationId xmlns:a16="http://schemas.microsoft.com/office/drawing/2014/main" id="{85C4B772-8F3D-4813-BBC0-E0BD0F98493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723967" y="3002823"/>
            <a:ext cx="1919835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56" name="Text Placeholder 40">
            <a:extLst>
              <a:ext uri="{FF2B5EF4-FFF2-40B4-BE49-F238E27FC236}">
                <a16:creationId xmlns:a16="http://schemas.microsoft.com/office/drawing/2014/main" id="{92EA3070-ED8C-4A9F-8580-55ADFF43AB6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407489" y="2956490"/>
            <a:ext cx="1919835" cy="281118"/>
          </a:xfrm>
          <a:solidFill>
            <a:schemeClr val="tx1"/>
          </a:solidFill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bg2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itle or Section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57F63CAC-00C2-4D4C-8D5B-43E7D34B7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03876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nip Diagonal Corner Rectangle 2">
            <a:extLst>
              <a:ext uri="{FF2B5EF4-FFF2-40B4-BE49-F238E27FC236}">
                <a16:creationId xmlns:a16="http://schemas.microsoft.com/office/drawing/2014/main" id="{89D67B6B-F2BA-450D-B9BD-C19C69EF9F5E}"/>
              </a:ext>
            </a:extLst>
          </p:cNvPr>
          <p:cNvSpPr/>
          <p:nvPr/>
        </p:nvSpPr>
        <p:spPr>
          <a:xfrm flipH="1" flipV="1">
            <a:off x="1778696" y="1621889"/>
            <a:ext cx="8090566" cy="2762220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DA6550C-5E96-428A-BDC9-6E2A8CE931F3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21" name="Speech Bubble: Oval 20">
            <a:extLst>
              <a:ext uri="{FF2B5EF4-FFF2-40B4-BE49-F238E27FC236}">
                <a16:creationId xmlns:a16="http://schemas.microsoft.com/office/drawing/2014/main" id="{08640DE6-00E7-4E79-94C9-E9EAB58CA10B}"/>
              </a:ext>
            </a:extLst>
          </p:cNvPr>
          <p:cNvSpPr/>
          <p:nvPr/>
        </p:nvSpPr>
        <p:spPr>
          <a:xfrm rot="21099954">
            <a:off x="259776" y="1328752"/>
            <a:ext cx="1828800" cy="1828800"/>
          </a:xfrm>
          <a:prstGeom prst="wedgeEllipseCallout">
            <a:avLst>
              <a:gd name="adj1" fmla="val 65377"/>
              <a:gd name="adj2" fmla="val 1682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519C94-329B-4EA7-9E65-883BEC4D7F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60860" y="1943508"/>
            <a:ext cx="6726237" cy="1801192"/>
          </a:xfrm>
        </p:spPr>
        <p:txBody>
          <a:bodyPr>
            <a:normAutofit/>
          </a:bodyPr>
          <a:lstStyle>
            <a:lvl1pPr marL="0" indent="0">
              <a:buNone/>
              <a:defRPr sz="3200" b="1" i="0">
                <a:latin typeface="+mj-lt"/>
              </a:defRPr>
            </a:lvl1pPr>
          </a:lstStyle>
          <a:p>
            <a:pPr lvl="0"/>
            <a:r>
              <a:rPr lang="en-US" dirty="0"/>
              <a:t>Enter Main Callout Here</a:t>
            </a:r>
          </a:p>
        </p:txBody>
      </p:sp>
      <p:sp>
        <p:nvSpPr>
          <p:cNvPr id="27" name="Speech Bubble: Oval 26">
            <a:extLst>
              <a:ext uri="{FF2B5EF4-FFF2-40B4-BE49-F238E27FC236}">
                <a16:creationId xmlns:a16="http://schemas.microsoft.com/office/drawing/2014/main" id="{8AD4BB4B-C61A-4E63-93C9-87B9DB04AF48}"/>
              </a:ext>
            </a:extLst>
          </p:cNvPr>
          <p:cNvSpPr/>
          <p:nvPr/>
        </p:nvSpPr>
        <p:spPr>
          <a:xfrm rot="17881081">
            <a:off x="1136282" y="3871048"/>
            <a:ext cx="1828800" cy="1828800"/>
          </a:xfrm>
          <a:prstGeom prst="wedgeEllipseCallout">
            <a:avLst>
              <a:gd name="adj1" fmla="val 65377"/>
              <a:gd name="adj2" fmla="val 1682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8" name="Speech Bubble: Oval 27">
            <a:extLst>
              <a:ext uri="{FF2B5EF4-FFF2-40B4-BE49-F238E27FC236}">
                <a16:creationId xmlns:a16="http://schemas.microsoft.com/office/drawing/2014/main" id="{9A16A6CE-3218-4493-8EF3-5E01423D7948}"/>
              </a:ext>
            </a:extLst>
          </p:cNvPr>
          <p:cNvSpPr/>
          <p:nvPr/>
        </p:nvSpPr>
        <p:spPr>
          <a:xfrm rot="12512725">
            <a:off x="9298443" y="3762344"/>
            <a:ext cx="1828800" cy="1828800"/>
          </a:xfrm>
          <a:prstGeom prst="wedgeEllipseCallout">
            <a:avLst>
              <a:gd name="adj1" fmla="val 65377"/>
              <a:gd name="adj2" fmla="val 1682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9" name="Speech Bubble: Oval 28">
            <a:extLst>
              <a:ext uri="{FF2B5EF4-FFF2-40B4-BE49-F238E27FC236}">
                <a16:creationId xmlns:a16="http://schemas.microsoft.com/office/drawing/2014/main" id="{66B67A80-4680-4928-AFF6-6625CB506644}"/>
              </a:ext>
            </a:extLst>
          </p:cNvPr>
          <p:cNvSpPr/>
          <p:nvPr/>
        </p:nvSpPr>
        <p:spPr>
          <a:xfrm rot="10050442">
            <a:off x="9625761" y="1328752"/>
            <a:ext cx="1828800" cy="1828800"/>
          </a:xfrm>
          <a:prstGeom prst="wedgeEllipseCallout">
            <a:avLst>
              <a:gd name="adj1" fmla="val 65377"/>
              <a:gd name="adj2" fmla="val 1682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0" name="Speech Bubble: Oval 29">
            <a:extLst>
              <a:ext uri="{FF2B5EF4-FFF2-40B4-BE49-F238E27FC236}">
                <a16:creationId xmlns:a16="http://schemas.microsoft.com/office/drawing/2014/main" id="{3F4D5E3E-4F3A-426A-8DE8-C2FD02F41166}"/>
              </a:ext>
            </a:extLst>
          </p:cNvPr>
          <p:cNvSpPr/>
          <p:nvPr/>
        </p:nvSpPr>
        <p:spPr>
          <a:xfrm rot="15361156">
            <a:off x="4909578" y="4260147"/>
            <a:ext cx="1828800" cy="1828800"/>
          </a:xfrm>
          <a:prstGeom prst="wedgeEllipseCallout">
            <a:avLst>
              <a:gd name="adj1" fmla="val 65377"/>
              <a:gd name="adj2" fmla="val 16824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258B5F-A77E-4553-8B18-540D58177D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77863" y="4246323"/>
            <a:ext cx="1297075" cy="110355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CA218E77-B92D-4B63-9FC3-9B42B3BD05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5638" y="1705388"/>
            <a:ext cx="1297075" cy="110355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9860D0A4-7D08-4E4D-8EAB-4444390B1E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5440" y="4635593"/>
            <a:ext cx="1297075" cy="110355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2493F220-34C5-42E6-A272-576ADFCA1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92407" y="4132559"/>
            <a:ext cx="1297075" cy="110355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8FA0091-FBB9-484F-8FAE-3F70D089FD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02888" y="1705388"/>
            <a:ext cx="1297075" cy="1103552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4499E09-ADB8-4FEE-BAE4-6728FE672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5389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Open No Photo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D38043C-A2E2-4CDE-8167-58382B6909D4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8931ADC0-3530-4243-B18B-2158E4145ED5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B7B08450-F94E-45AE-8E3C-E4C2ABA9D47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EAA19611-4221-4A1F-9404-D19C02D6792C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0F8722F-1BBD-4EFC-8F05-9B22DE7553B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1946" y="162478"/>
            <a:ext cx="1636284" cy="401464"/>
          </a:xfrm>
          <a:prstGeom prst="rect">
            <a:avLst/>
          </a:prstGeom>
        </p:spPr>
      </p:pic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2A446EF7-A02C-4D37-BE92-00DD198DE702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3FEA4525-BEA1-4C66-8649-76EED3ED34B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E446BDB-671A-4C7F-8896-5E89E07EC1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09686" y="2678906"/>
            <a:ext cx="10363200" cy="15001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Slide With Photo</a:t>
            </a:r>
          </a:p>
        </p:txBody>
      </p:sp>
    </p:spTree>
    <p:extLst>
      <p:ext uri="{BB962C8B-B14F-4D97-AF65-F5344CB8AC3E}">
        <p14:creationId xmlns:p14="http://schemas.microsoft.com/office/powerpoint/2010/main" val="3320902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DA6550C-5E96-428A-BDC9-6E2A8CE931F3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258B5F-A77E-4553-8B18-540D58177D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20972" y="4289779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5E7CE87-8447-40CC-90DB-FED5F725DC5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24907" y="1380479"/>
            <a:ext cx="1485730" cy="171584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BE782490-C7A2-4292-85F3-A618A73ACBD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9726198">
            <a:off x="7144336" y="3179595"/>
            <a:ext cx="1485730" cy="1715843"/>
          </a:xfrm>
          <a:prstGeom prst="rect">
            <a:avLst/>
          </a:prstGeom>
        </p:spPr>
      </p:pic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15F2930-A3FB-4134-A47F-0CBDC2AB1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20972" y="3809934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AFC560A5-431B-4AD5-B657-BA09608726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20972" y="2373046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2BC27ED-379C-4FB6-AA71-9E2B5722C6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20972" y="1893201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56" name="Graphic 19">
            <a:extLst>
              <a:ext uri="{FF2B5EF4-FFF2-40B4-BE49-F238E27FC236}">
                <a16:creationId xmlns:a16="http://schemas.microsoft.com/office/drawing/2014/main" id="{97C74DAD-94E7-4A29-BC74-D609731B5977}"/>
              </a:ext>
            </a:extLst>
          </p:cNvPr>
          <p:cNvSpPr/>
          <p:nvPr/>
        </p:nvSpPr>
        <p:spPr>
          <a:xfrm rot="5400000">
            <a:off x="6115863" y="3878721"/>
            <a:ext cx="821249" cy="2706266"/>
          </a:xfrm>
          <a:custGeom>
            <a:avLst/>
            <a:gdLst>
              <a:gd name="connsiteX0" fmla="*/ 0 w 2057304"/>
              <a:gd name="connsiteY0" fmla="*/ 0 h 4114895"/>
              <a:gd name="connsiteX1" fmla="*/ 2057305 w 2057304"/>
              <a:gd name="connsiteY1" fmla="*/ 2057400 h 4114895"/>
              <a:gd name="connsiteX2" fmla="*/ 0 w 2057304"/>
              <a:gd name="connsiteY2" fmla="*/ 4114895 h 4114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57304" h="4114895">
                <a:moveTo>
                  <a:pt x="0" y="0"/>
                </a:moveTo>
                <a:cubicBezTo>
                  <a:pt x="1136237" y="0"/>
                  <a:pt x="2057305" y="921163"/>
                  <a:pt x="2057305" y="2057400"/>
                </a:cubicBezTo>
                <a:cubicBezTo>
                  <a:pt x="2057305" y="3193542"/>
                  <a:pt x="1136237" y="4114895"/>
                  <a:pt x="0" y="4114895"/>
                </a:cubicBezTo>
              </a:path>
            </a:pathLst>
          </a:custGeom>
          <a:noFill/>
          <a:ln w="273050" cap="flat">
            <a:solidFill>
              <a:schemeClr val="accent3"/>
            </a:solidFill>
            <a:prstDash val="solid"/>
            <a:miter/>
            <a:headEnd type="triangle" w="sm" len="sm"/>
            <a:tailEnd type="triangle" w="sm" len="sm"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8B62B798-EC34-4D89-A5C8-08005165742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9726198">
            <a:off x="4422498" y="3148772"/>
            <a:ext cx="1485730" cy="1715843"/>
          </a:xfrm>
          <a:prstGeom prst="rect">
            <a:avLst/>
          </a:prstGeom>
        </p:spPr>
      </p:pic>
      <p:sp>
        <p:nvSpPr>
          <p:cNvPr id="59" name="Graphic 19">
            <a:extLst>
              <a:ext uri="{FF2B5EF4-FFF2-40B4-BE49-F238E27FC236}">
                <a16:creationId xmlns:a16="http://schemas.microsoft.com/office/drawing/2014/main" id="{CB4FF172-172C-44BE-A965-946C1A892D43}"/>
              </a:ext>
            </a:extLst>
          </p:cNvPr>
          <p:cNvSpPr/>
          <p:nvPr/>
        </p:nvSpPr>
        <p:spPr>
          <a:xfrm rot="19639386">
            <a:off x="7927614" y="1098552"/>
            <a:ext cx="821249" cy="2706266"/>
          </a:xfrm>
          <a:custGeom>
            <a:avLst/>
            <a:gdLst>
              <a:gd name="connsiteX0" fmla="*/ 0 w 2057304"/>
              <a:gd name="connsiteY0" fmla="*/ 0 h 4114895"/>
              <a:gd name="connsiteX1" fmla="*/ 2057305 w 2057304"/>
              <a:gd name="connsiteY1" fmla="*/ 2057400 h 4114895"/>
              <a:gd name="connsiteX2" fmla="*/ 0 w 2057304"/>
              <a:gd name="connsiteY2" fmla="*/ 4114895 h 4114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57304" h="4114895">
                <a:moveTo>
                  <a:pt x="0" y="0"/>
                </a:moveTo>
                <a:cubicBezTo>
                  <a:pt x="1136237" y="0"/>
                  <a:pt x="2057305" y="921163"/>
                  <a:pt x="2057305" y="2057400"/>
                </a:cubicBezTo>
                <a:cubicBezTo>
                  <a:pt x="2057305" y="3193542"/>
                  <a:pt x="1136237" y="4114895"/>
                  <a:pt x="0" y="4114895"/>
                </a:cubicBezTo>
              </a:path>
            </a:pathLst>
          </a:custGeom>
          <a:noFill/>
          <a:ln w="273050" cap="flat">
            <a:solidFill>
              <a:schemeClr val="accent3"/>
            </a:solidFill>
            <a:prstDash val="solid"/>
            <a:miter/>
            <a:headEnd type="triangle" w="sm" len="sm"/>
            <a:tailEnd type="triangle" w="sm" len="sm"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0" name="Graphic 19">
            <a:extLst>
              <a:ext uri="{FF2B5EF4-FFF2-40B4-BE49-F238E27FC236}">
                <a16:creationId xmlns:a16="http://schemas.microsoft.com/office/drawing/2014/main" id="{79884C11-4B1C-4597-95CD-C50698DBC99B}"/>
              </a:ext>
            </a:extLst>
          </p:cNvPr>
          <p:cNvSpPr/>
          <p:nvPr/>
        </p:nvSpPr>
        <p:spPr>
          <a:xfrm rot="12998321">
            <a:off x="4544495" y="928732"/>
            <a:ext cx="821249" cy="2706266"/>
          </a:xfrm>
          <a:custGeom>
            <a:avLst/>
            <a:gdLst>
              <a:gd name="connsiteX0" fmla="*/ 0 w 2057304"/>
              <a:gd name="connsiteY0" fmla="*/ 0 h 4114895"/>
              <a:gd name="connsiteX1" fmla="*/ 2057305 w 2057304"/>
              <a:gd name="connsiteY1" fmla="*/ 2057400 h 4114895"/>
              <a:gd name="connsiteX2" fmla="*/ 0 w 2057304"/>
              <a:gd name="connsiteY2" fmla="*/ 4114895 h 4114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57304" h="4114895">
                <a:moveTo>
                  <a:pt x="0" y="0"/>
                </a:moveTo>
                <a:cubicBezTo>
                  <a:pt x="1136237" y="0"/>
                  <a:pt x="2057305" y="921163"/>
                  <a:pt x="2057305" y="2057400"/>
                </a:cubicBezTo>
                <a:cubicBezTo>
                  <a:pt x="2057305" y="3193542"/>
                  <a:pt x="1136237" y="4114895"/>
                  <a:pt x="0" y="4114895"/>
                </a:cubicBezTo>
              </a:path>
            </a:pathLst>
          </a:custGeom>
          <a:noFill/>
          <a:ln w="273050" cap="flat">
            <a:solidFill>
              <a:schemeClr val="accent3"/>
            </a:solidFill>
            <a:prstDash val="solid"/>
            <a:miter/>
            <a:headEnd type="triangle" w="sm" len="sm"/>
            <a:tailEnd type="triangle" w="sm" len="sm"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1215EDD6-89C3-49AD-8785-CD8CC38D67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5349" y="4296521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F6A599AD-15BE-42B9-B365-9573E284EF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235349" y="3816676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D6C90AE-B1DD-4374-B23D-CB34E0C4A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3674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DA6550C-5E96-428A-BDC9-6E2A8CE931F3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258B5F-A77E-4553-8B18-540D58177D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5886" y="3996326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15F2930-A3FB-4134-A47F-0CBDC2AB1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4947" y="3516481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AFC560A5-431B-4AD5-B657-BA09608726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5886" y="1884463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2BC27ED-379C-4FB6-AA71-9E2B5722C6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4947" y="1404618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1215EDD6-89C3-49AD-8785-CD8CC38D67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03660" y="2826510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F6A599AD-15BE-42B9-B365-9573E284EF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03660" y="2346666"/>
            <a:ext cx="2536924" cy="337012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20" name="Graphic 19">
            <a:extLst>
              <a:ext uri="{FF2B5EF4-FFF2-40B4-BE49-F238E27FC236}">
                <a16:creationId xmlns:a16="http://schemas.microsoft.com/office/drawing/2014/main" id="{E3675192-C219-41D5-AD7C-454072080944}"/>
              </a:ext>
            </a:extLst>
          </p:cNvPr>
          <p:cNvSpPr/>
          <p:nvPr/>
        </p:nvSpPr>
        <p:spPr>
          <a:xfrm rot="10445709">
            <a:off x="4125101" y="1585147"/>
            <a:ext cx="1771179" cy="3974041"/>
          </a:xfrm>
          <a:custGeom>
            <a:avLst/>
            <a:gdLst>
              <a:gd name="connsiteX0" fmla="*/ 0 w 2057304"/>
              <a:gd name="connsiteY0" fmla="*/ 0 h 4114895"/>
              <a:gd name="connsiteX1" fmla="*/ 2057305 w 2057304"/>
              <a:gd name="connsiteY1" fmla="*/ 2057400 h 4114895"/>
              <a:gd name="connsiteX2" fmla="*/ 0 w 2057304"/>
              <a:gd name="connsiteY2" fmla="*/ 4114895 h 4114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57304" h="4114895">
                <a:moveTo>
                  <a:pt x="0" y="0"/>
                </a:moveTo>
                <a:cubicBezTo>
                  <a:pt x="1136237" y="0"/>
                  <a:pt x="2057305" y="921163"/>
                  <a:pt x="2057305" y="2057400"/>
                </a:cubicBezTo>
                <a:cubicBezTo>
                  <a:pt x="2057305" y="3193542"/>
                  <a:pt x="1136237" y="4114895"/>
                  <a:pt x="0" y="4114895"/>
                </a:cubicBezTo>
              </a:path>
            </a:pathLst>
          </a:custGeom>
          <a:noFill/>
          <a:ln w="273050" cap="flat">
            <a:solidFill>
              <a:schemeClr val="accent3"/>
            </a:solidFill>
            <a:prstDash val="solid"/>
            <a:miter/>
            <a:headEnd type="triangle" w="sm" len="sm"/>
            <a:tailEnd type="triangle" w="sm" len="sm"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lowchart: Connector 1">
            <a:extLst>
              <a:ext uri="{FF2B5EF4-FFF2-40B4-BE49-F238E27FC236}">
                <a16:creationId xmlns:a16="http://schemas.microsoft.com/office/drawing/2014/main" id="{9F6EDD2D-651B-44A8-8036-6E159A62C663}"/>
              </a:ext>
            </a:extLst>
          </p:cNvPr>
          <p:cNvSpPr/>
          <p:nvPr/>
        </p:nvSpPr>
        <p:spPr>
          <a:xfrm>
            <a:off x="5742366" y="928914"/>
            <a:ext cx="1827202" cy="182720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lowchart: Connector 21">
            <a:extLst>
              <a:ext uri="{FF2B5EF4-FFF2-40B4-BE49-F238E27FC236}">
                <a16:creationId xmlns:a16="http://schemas.microsoft.com/office/drawing/2014/main" id="{566A488A-2675-45EA-920D-2C3BE99473D1}"/>
              </a:ext>
            </a:extLst>
          </p:cNvPr>
          <p:cNvSpPr/>
          <p:nvPr/>
        </p:nvSpPr>
        <p:spPr>
          <a:xfrm>
            <a:off x="3381824" y="2953333"/>
            <a:ext cx="1827202" cy="1827202"/>
          </a:xfrm>
          <a:prstGeom prst="flowChartConnecto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82E20C5-7A32-4E7B-BB16-962702DC7F56}"/>
              </a:ext>
            </a:extLst>
          </p:cNvPr>
          <p:cNvGrpSpPr/>
          <p:nvPr/>
        </p:nvGrpSpPr>
        <p:grpSpPr>
          <a:xfrm>
            <a:off x="6223216" y="1645797"/>
            <a:ext cx="3442200" cy="3002932"/>
            <a:chOff x="5997135" y="1694112"/>
            <a:chExt cx="3759045" cy="3002932"/>
          </a:xfrm>
        </p:grpSpPr>
        <p:sp>
          <p:nvSpPr>
            <p:cNvPr id="26" name="Graphic 19">
              <a:extLst>
                <a:ext uri="{FF2B5EF4-FFF2-40B4-BE49-F238E27FC236}">
                  <a16:creationId xmlns:a16="http://schemas.microsoft.com/office/drawing/2014/main" id="{2FEFF336-11B2-4718-8C92-B612DD4FF330}"/>
                </a:ext>
              </a:extLst>
            </p:cNvPr>
            <p:cNvSpPr/>
            <p:nvPr/>
          </p:nvSpPr>
          <p:spPr>
            <a:xfrm rot="326615">
              <a:off x="7554971" y="1694112"/>
              <a:ext cx="1702333" cy="2047140"/>
            </a:xfrm>
            <a:custGeom>
              <a:avLst/>
              <a:gdLst>
                <a:gd name="connsiteX0" fmla="*/ 0 w 2057304"/>
                <a:gd name="connsiteY0" fmla="*/ 0 h 4114895"/>
                <a:gd name="connsiteX1" fmla="*/ 2057305 w 2057304"/>
                <a:gd name="connsiteY1" fmla="*/ 2057400 h 4114895"/>
                <a:gd name="connsiteX2" fmla="*/ 0 w 2057304"/>
                <a:gd name="connsiteY2" fmla="*/ 4114895 h 4114895"/>
                <a:gd name="connsiteX0" fmla="*/ 0 w 2057305"/>
                <a:gd name="connsiteY0" fmla="*/ 0 h 2057400"/>
                <a:gd name="connsiteX1" fmla="*/ 2057305 w 2057305"/>
                <a:gd name="connsiteY1" fmla="*/ 2057400 h 205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57305" h="2057400">
                  <a:moveTo>
                    <a:pt x="0" y="0"/>
                  </a:moveTo>
                  <a:cubicBezTo>
                    <a:pt x="1136237" y="0"/>
                    <a:pt x="2057305" y="921163"/>
                    <a:pt x="2057305" y="2057400"/>
                  </a:cubicBezTo>
                </a:path>
              </a:pathLst>
            </a:custGeom>
            <a:noFill/>
            <a:ln w="273050" cap="flat">
              <a:solidFill>
                <a:schemeClr val="accent3"/>
              </a:solidFill>
              <a:prstDash val="solid"/>
              <a:miter/>
              <a:headEnd type="triangle" w="sm" len="sm"/>
              <a:tailEnd type="triangle" w="sm" len="sm"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Graphic 19">
              <a:extLst>
                <a:ext uri="{FF2B5EF4-FFF2-40B4-BE49-F238E27FC236}">
                  <a16:creationId xmlns:a16="http://schemas.microsoft.com/office/drawing/2014/main" id="{A9396F50-EAD8-4425-96A8-7A7D31D19693}"/>
                </a:ext>
              </a:extLst>
            </p:cNvPr>
            <p:cNvSpPr/>
            <p:nvPr/>
          </p:nvSpPr>
          <p:spPr>
            <a:xfrm rot="2751228">
              <a:off x="7046630" y="1987494"/>
              <a:ext cx="1660055" cy="3759045"/>
            </a:xfrm>
            <a:custGeom>
              <a:avLst/>
              <a:gdLst>
                <a:gd name="connsiteX0" fmla="*/ 0 w 2057304"/>
                <a:gd name="connsiteY0" fmla="*/ 0 h 4114895"/>
                <a:gd name="connsiteX1" fmla="*/ 2057305 w 2057304"/>
                <a:gd name="connsiteY1" fmla="*/ 2057400 h 4114895"/>
                <a:gd name="connsiteX2" fmla="*/ 0 w 2057304"/>
                <a:gd name="connsiteY2" fmla="*/ 4114895 h 411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57304" h="4114895">
                  <a:moveTo>
                    <a:pt x="0" y="0"/>
                  </a:moveTo>
                  <a:cubicBezTo>
                    <a:pt x="1136237" y="0"/>
                    <a:pt x="2057305" y="921163"/>
                    <a:pt x="2057305" y="2057400"/>
                  </a:cubicBezTo>
                  <a:cubicBezTo>
                    <a:pt x="2057305" y="3193542"/>
                    <a:pt x="1136237" y="4114895"/>
                    <a:pt x="0" y="4114895"/>
                  </a:cubicBezTo>
                </a:path>
              </a:pathLst>
            </a:custGeom>
            <a:noFill/>
            <a:ln w="273050" cap="flat">
              <a:solidFill>
                <a:schemeClr val="accent3"/>
              </a:solidFill>
              <a:prstDash val="solid"/>
              <a:miter/>
              <a:headEnd type="none" w="sm" len="sm"/>
              <a:tailEnd type="triangle" w="sm" len="sm"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3" name="Flowchart: Connector 22">
            <a:extLst>
              <a:ext uri="{FF2B5EF4-FFF2-40B4-BE49-F238E27FC236}">
                <a16:creationId xmlns:a16="http://schemas.microsoft.com/office/drawing/2014/main" id="{D88B0C45-928D-4BA7-A878-C26B7435EA21}"/>
              </a:ext>
            </a:extLst>
          </p:cNvPr>
          <p:cNvSpPr/>
          <p:nvPr/>
        </p:nvSpPr>
        <p:spPr>
          <a:xfrm>
            <a:off x="7863815" y="2961142"/>
            <a:ext cx="1827202" cy="1827202"/>
          </a:xfrm>
          <a:prstGeom prst="flowChartConnector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40">
            <a:extLst>
              <a:ext uri="{FF2B5EF4-FFF2-40B4-BE49-F238E27FC236}">
                <a16:creationId xmlns:a16="http://schemas.microsoft.com/office/drawing/2014/main" id="{748043E9-23C8-4F9D-99FC-5A837D8F41A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50409" y="2957806"/>
            <a:ext cx="2311923" cy="1301826"/>
          </a:xfrm>
        </p:spPr>
        <p:txBody>
          <a:bodyPr>
            <a:noAutofit/>
          </a:bodyPr>
          <a:lstStyle>
            <a:lvl1pPr marL="0" indent="0" algn="ctr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Tx/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A54203BB-41B0-4DEB-9FA7-D1B39DB0D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97660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DA6550C-5E96-428A-BDC9-6E2A8CE931F3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258B5F-A77E-4553-8B18-540D58177D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74177" y="4775424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015F2930-A3FB-4134-A47F-0CBDC2AB1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74177" y="4295579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AFC560A5-431B-4AD5-B657-BA09608726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0525" y="1933339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52BC27ED-379C-4FB6-AA71-9E2B5722C6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80525" y="1453494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1215EDD6-89C3-49AD-8785-CD8CC38D67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89292" y="4775423"/>
            <a:ext cx="2535047" cy="409241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F6A599AD-15BE-42B9-B365-9573E284EF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89292" y="4295579"/>
            <a:ext cx="2536924" cy="374620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293461C3-A75F-4959-9A86-72328BF9CA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87415" y="1933339"/>
            <a:ext cx="2535047" cy="401464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774C526B-9F75-405D-B24B-11C30B6EF9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7415" y="1453494"/>
            <a:ext cx="2536924" cy="367501"/>
          </a:xfrm>
        </p:spPr>
        <p:txBody>
          <a:bodyPr>
            <a:noAutofit/>
          </a:bodyPr>
          <a:lstStyle>
            <a:lvl1pPr marL="0" indent="0" algn="r">
              <a:buNone/>
              <a:defRPr sz="2400" b="1" i="0">
                <a:solidFill>
                  <a:schemeClr val="bg2"/>
                </a:solidFill>
                <a:latin typeface="Arial Rounded MT Bold" panose="020F0704030504030204" pitchFamily="34" charset="0"/>
              </a:defRPr>
            </a:lvl1pPr>
          </a:lstStyle>
          <a:p>
            <a:pPr lvl="0"/>
            <a:r>
              <a:rPr lang="en-US" dirty="0"/>
              <a:t>Category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2C6E8BB-AB0C-4BBE-86F9-0BCA16D3E07C}"/>
              </a:ext>
            </a:extLst>
          </p:cNvPr>
          <p:cNvGrpSpPr/>
          <p:nvPr/>
        </p:nvGrpSpPr>
        <p:grpSpPr>
          <a:xfrm>
            <a:off x="6425744" y="1211621"/>
            <a:ext cx="2218698" cy="2316926"/>
            <a:chOff x="6425744" y="1211621"/>
            <a:chExt cx="2218698" cy="2316926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8943C41-75A7-4EFF-BE88-3D7583B2ED00}"/>
                </a:ext>
              </a:extLst>
            </p:cNvPr>
            <p:cNvSpPr/>
            <p:nvPr/>
          </p:nvSpPr>
          <p:spPr>
            <a:xfrm>
              <a:off x="6425744" y="1211621"/>
              <a:ext cx="2218698" cy="2316926"/>
            </a:xfrm>
            <a:custGeom>
              <a:avLst/>
              <a:gdLst>
                <a:gd name="connsiteX0" fmla="*/ 0 w 2218698"/>
                <a:gd name="connsiteY0" fmla="*/ 0 h 2316926"/>
                <a:gd name="connsiteX1" fmla="*/ 857513 w 2218698"/>
                <a:gd name="connsiteY1" fmla="*/ 191672 h 2316926"/>
                <a:gd name="connsiteX2" fmla="*/ 1049988 w 2218698"/>
                <a:gd name="connsiteY2" fmla="*/ 290099 h 2316926"/>
                <a:gd name="connsiteX3" fmla="*/ 1127134 w 2218698"/>
                <a:gd name="connsiteY3" fmla="*/ 226448 h 2316926"/>
                <a:gd name="connsiteX4" fmla="*/ 1517357 w 2218698"/>
                <a:gd name="connsiteY4" fmla="*/ 107251 h 2316926"/>
                <a:gd name="connsiteX5" fmla="*/ 2215295 w 2218698"/>
                <a:gd name="connsiteY5" fmla="*/ 805189 h 2316926"/>
                <a:gd name="connsiteX6" fmla="*/ 2010874 w 2218698"/>
                <a:gd name="connsiteY6" fmla="*/ 1298706 h 2316926"/>
                <a:gd name="connsiteX7" fmla="*/ 1986989 w 2218698"/>
                <a:gd name="connsiteY7" fmla="*/ 1318413 h 2316926"/>
                <a:gd name="connsiteX8" fmla="*/ 2035339 w 2218698"/>
                <a:gd name="connsiteY8" fmla="*/ 1421514 h 2316926"/>
                <a:gd name="connsiteX9" fmla="*/ 2218698 w 2218698"/>
                <a:gd name="connsiteY9" fmla="*/ 2316926 h 2316926"/>
                <a:gd name="connsiteX10" fmla="*/ 971538 w 2218698"/>
                <a:gd name="connsiteY10" fmla="*/ 2316926 h 2316926"/>
                <a:gd name="connsiteX11" fmla="*/ 0 w 2218698"/>
                <a:gd name="connsiteY11" fmla="*/ 1302376 h 231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698" h="2316926">
                  <a:moveTo>
                    <a:pt x="0" y="0"/>
                  </a:moveTo>
                  <a:cubicBezTo>
                    <a:pt x="304270" y="4967"/>
                    <a:pt x="593911" y="72823"/>
                    <a:pt x="857513" y="191672"/>
                  </a:cubicBezTo>
                  <a:lnTo>
                    <a:pt x="1049988" y="290099"/>
                  </a:lnTo>
                  <a:lnTo>
                    <a:pt x="1127134" y="226448"/>
                  </a:lnTo>
                  <a:cubicBezTo>
                    <a:pt x="1238525" y="151193"/>
                    <a:pt x="1372810" y="107251"/>
                    <a:pt x="1517357" y="107251"/>
                  </a:cubicBezTo>
                  <a:cubicBezTo>
                    <a:pt x="1902818" y="107251"/>
                    <a:pt x="2215295" y="419729"/>
                    <a:pt x="2215295" y="805189"/>
                  </a:cubicBezTo>
                  <a:cubicBezTo>
                    <a:pt x="2215295" y="997920"/>
                    <a:pt x="2137176" y="1172404"/>
                    <a:pt x="2010874" y="1298706"/>
                  </a:cubicBezTo>
                  <a:lnTo>
                    <a:pt x="1986989" y="1318413"/>
                  </a:lnTo>
                  <a:lnTo>
                    <a:pt x="2035339" y="1421514"/>
                  </a:lnTo>
                  <a:cubicBezTo>
                    <a:pt x="2149129" y="1696750"/>
                    <a:pt x="2214053" y="1999186"/>
                    <a:pt x="2218698" y="2316926"/>
                  </a:cubicBezTo>
                  <a:lnTo>
                    <a:pt x="971538" y="2316926"/>
                  </a:lnTo>
                  <a:lnTo>
                    <a:pt x="0" y="1302376"/>
                  </a:lnTo>
                  <a:close/>
                </a:path>
              </a:pathLst>
            </a:custGeom>
            <a:solidFill>
              <a:schemeClr val="accent4"/>
            </a:solidFill>
            <a:ln w="441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lowchart: Connector 17">
              <a:extLst>
                <a:ext uri="{FF2B5EF4-FFF2-40B4-BE49-F238E27FC236}">
                  <a16:creationId xmlns:a16="http://schemas.microsoft.com/office/drawing/2014/main" id="{F72852F1-CF73-41F9-B30D-FDBC9ACCFBEE}"/>
                </a:ext>
              </a:extLst>
            </p:cNvPr>
            <p:cNvSpPr/>
            <p:nvPr/>
          </p:nvSpPr>
          <p:spPr>
            <a:xfrm>
              <a:off x="7432986" y="1453140"/>
              <a:ext cx="1013061" cy="1013061"/>
            </a:xfrm>
            <a:prstGeom prst="flowChartConnector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00908BF-D616-486D-B728-59DDB0155AF5}"/>
              </a:ext>
            </a:extLst>
          </p:cNvPr>
          <p:cNvGrpSpPr/>
          <p:nvPr/>
        </p:nvGrpSpPr>
        <p:grpSpPr>
          <a:xfrm>
            <a:off x="3862195" y="1202718"/>
            <a:ext cx="2316926" cy="2218698"/>
            <a:chOff x="3862195" y="1202718"/>
            <a:chExt cx="2316926" cy="2218698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321648BF-1854-4505-ABFC-C214A6AA41BF}"/>
                </a:ext>
              </a:extLst>
            </p:cNvPr>
            <p:cNvSpPr/>
            <p:nvPr/>
          </p:nvSpPr>
          <p:spPr>
            <a:xfrm rot="16200000">
              <a:off x="3911309" y="1153604"/>
              <a:ext cx="2218698" cy="2316926"/>
            </a:xfrm>
            <a:custGeom>
              <a:avLst/>
              <a:gdLst>
                <a:gd name="connsiteX0" fmla="*/ 0 w 2218698"/>
                <a:gd name="connsiteY0" fmla="*/ 0 h 2316926"/>
                <a:gd name="connsiteX1" fmla="*/ 857513 w 2218698"/>
                <a:gd name="connsiteY1" fmla="*/ 191672 h 2316926"/>
                <a:gd name="connsiteX2" fmla="*/ 1049988 w 2218698"/>
                <a:gd name="connsiteY2" fmla="*/ 290099 h 2316926"/>
                <a:gd name="connsiteX3" fmla="*/ 1127134 w 2218698"/>
                <a:gd name="connsiteY3" fmla="*/ 226448 h 2316926"/>
                <a:gd name="connsiteX4" fmla="*/ 1517357 w 2218698"/>
                <a:gd name="connsiteY4" fmla="*/ 107251 h 2316926"/>
                <a:gd name="connsiteX5" fmla="*/ 2215295 w 2218698"/>
                <a:gd name="connsiteY5" fmla="*/ 805189 h 2316926"/>
                <a:gd name="connsiteX6" fmla="*/ 2010874 w 2218698"/>
                <a:gd name="connsiteY6" fmla="*/ 1298706 h 2316926"/>
                <a:gd name="connsiteX7" fmla="*/ 1986989 w 2218698"/>
                <a:gd name="connsiteY7" fmla="*/ 1318413 h 2316926"/>
                <a:gd name="connsiteX8" fmla="*/ 2035339 w 2218698"/>
                <a:gd name="connsiteY8" fmla="*/ 1421514 h 2316926"/>
                <a:gd name="connsiteX9" fmla="*/ 2218698 w 2218698"/>
                <a:gd name="connsiteY9" fmla="*/ 2316926 h 2316926"/>
                <a:gd name="connsiteX10" fmla="*/ 971538 w 2218698"/>
                <a:gd name="connsiteY10" fmla="*/ 2316926 h 2316926"/>
                <a:gd name="connsiteX11" fmla="*/ 0 w 2218698"/>
                <a:gd name="connsiteY11" fmla="*/ 1302376 h 231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698" h="2316926">
                  <a:moveTo>
                    <a:pt x="0" y="0"/>
                  </a:moveTo>
                  <a:cubicBezTo>
                    <a:pt x="304270" y="4967"/>
                    <a:pt x="593911" y="72823"/>
                    <a:pt x="857513" y="191672"/>
                  </a:cubicBezTo>
                  <a:lnTo>
                    <a:pt x="1049988" y="290099"/>
                  </a:lnTo>
                  <a:lnTo>
                    <a:pt x="1127134" y="226448"/>
                  </a:lnTo>
                  <a:cubicBezTo>
                    <a:pt x="1238525" y="151193"/>
                    <a:pt x="1372810" y="107251"/>
                    <a:pt x="1517357" y="107251"/>
                  </a:cubicBezTo>
                  <a:cubicBezTo>
                    <a:pt x="1902818" y="107251"/>
                    <a:pt x="2215295" y="419729"/>
                    <a:pt x="2215295" y="805189"/>
                  </a:cubicBezTo>
                  <a:cubicBezTo>
                    <a:pt x="2215295" y="997920"/>
                    <a:pt x="2137176" y="1172404"/>
                    <a:pt x="2010874" y="1298706"/>
                  </a:cubicBezTo>
                  <a:lnTo>
                    <a:pt x="1986989" y="1318413"/>
                  </a:lnTo>
                  <a:lnTo>
                    <a:pt x="2035339" y="1421514"/>
                  </a:lnTo>
                  <a:cubicBezTo>
                    <a:pt x="2149129" y="1696750"/>
                    <a:pt x="2214053" y="1999186"/>
                    <a:pt x="2218698" y="2316926"/>
                  </a:cubicBezTo>
                  <a:lnTo>
                    <a:pt x="971538" y="2316926"/>
                  </a:lnTo>
                  <a:lnTo>
                    <a:pt x="0" y="1302376"/>
                  </a:lnTo>
                  <a:close/>
                </a:path>
              </a:pathLst>
            </a:custGeom>
            <a:solidFill>
              <a:schemeClr val="accent1"/>
            </a:solidFill>
            <a:ln w="441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lowchart: Connector 64">
              <a:extLst>
                <a:ext uri="{FF2B5EF4-FFF2-40B4-BE49-F238E27FC236}">
                  <a16:creationId xmlns:a16="http://schemas.microsoft.com/office/drawing/2014/main" id="{DE01711F-A08D-4A80-B6E9-747420CDBBB3}"/>
                </a:ext>
              </a:extLst>
            </p:cNvPr>
            <p:cNvSpPr/>
            <p:nvPr/>
          </p:nvSpPr>
          <p:spPr>
            <a:xfrm>
              <a:off x="4122102" y="1357023"/>
              <a:ext cx="1013061" cy="1013061"/>
            </a:xfrm>
            <a:prstGeom prst="flowChartConnector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61460FE-3A83-4023-8B7A-DAD7CDE04DAD}"/>
              </a:ext>
            </a:extLst>
          </p:cNvPr>
          <p:cNvGrpSpPr/>
          <p:nvPr/>
        </p:nvGrpSpPr>
        <p:grpSpPr>
          <a:xfrm>
            <a:off x="6376630" y="3674614"/>
            <a:ext cx="2316926" cy="2218698"/>
            <a:chOff x="6376630" y="3674614"/>
            <a:chExt cx="2316926" cy="2218698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700FA88-8556-4301-B62B-668B552E8031}"/>
                </a:ext>
              </a:extLst>
            </p:cNvPr>
            <p:cNvSpPr/>
            <p:nvPr/>
          </p:nvSpPr>
          <p:spPr>
            <a:xfrm rot="5400000">
              <a:off x="6425744" y="3625500"/>
              <a:ext cx="2218698" cy="2316926"/>
            </a:xfrm>
            <a:custGeom>
              <a:avLst/>
              <a:gdLst>
                <a:gd name="connsiteX0" fmla="*/ 0 w 2218698"/>
                <a:gd name="connsiteY0" fmla="*/ 0 h 2316926"/>
                <a:gd name="connsiteX1" fmla="*/ 857513 w 2218698"/>
                <a:gd name="connsiteY1" fmla="*/ 191672 h 2316926"/>
                <a:gd name="connsiteX2" fmla="*/ 1049988 w 2218698"/>
                <a:gd name="connsiteY2" fmla="*/ 290099 h 2316926"/>
                <a:gd name="connsiteX3" fmla="*/ 1127134 w 2218698"/>
                <a:gd name="connsiteY3" fmla="*/ 226448 h 2316926"/>
                <a:gd name="connsiteX4" fmla="*/ 1517357 w 2218698"/>
                <a:gd name="connsiteY4" fmla="*/ 107251 h 2316926"/>
                <a:gd name="connsiteX5" fmla="*/ 2215295 w 2218698"/>
                <a:gd name="connsiteY5" fmla="*/ 805189 h 2316926"/>
                <a:gd name="connsiteX6" fmla="*/ 2010874 w 2218698"/>
                <a:gd name="connsiteY6" fmla="*/ 1298706 h 2316926"/>
                <a:gd name="connsiteX7" fmla="*/ 1986989 w 2218698"/>
                <a:gd name="connsiteY7" fmla="*/ 1318413 h 2316926"/>
                <a:gd name="connsiteX8" fmla="*/ 2035339 w 2218698"/>
                <a:gd name="connsiteY8" fmla="*/ 1421514 h 2316926"/>
                <a:gd name="connsiteX9" fmla="*/ 2218698 w 2218698"/>
                <a:gd name="connsiteY9" fmla="*/ 2316926 h 2316926"/>
                <a:gd name="connsiteX10" fmla="*/ 971538 w 2218698"/>
                <a:gd name="connsiteY10" fmla="*/ 2316926 h 2316926"/>
                <a:gd name="connsiteX11" fmla="*/ 0 w 2218698"/>
                <a:gd name="connsiteY11" fmla="*/ 1302376 h 231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698" h="2316926">
                  <a:moveTo>
                    <a:pt x="0" y="0"/>
                  </a:moveTo>
                  <a:cubicBezTo>
                    <a:pt x="304270" y="4967"/>
                    <a:pt x="593911" y="72823"/>
                    <a:pt x="857513" y="191672"/>
                  </a:cubicBezTo>
                  <a:lnTo>
                    <a:pt x="1049988" y="290099"/>
                  </a:lnTo>
                  <a:lnTo>
                    <a:pt x="1127134" y="226448"/>
                  </a:lnTo>
                  <a:cubicBezTo>
                    <a:pt x="1238525" y="151193"/>
                    <a:pt x="1372810" y="107251"/>
                    <a:pt x="1517357" y="107251"/>
                  </a:cubicBezTo>
                  <a:cubicBezTo>
                    <a:pt x="1902818" y="107251"/>
                    <a:pt x="2215295" y="419729"/>
                    <a:pt x="2215295" y="805189"/>
                  </a:cubicBezTo>
                  <a:cubicBezTo>
                    <a:pt x="2215295" y="997920"/>
                    <a:pt x="2137176" y="1172404"/>
                    <a:pt x="2010874" y="1298706"/>
                  </a:cubicBezTo>
                  <a:lnTo>
                    <a:pt x="1986989" y="1318413"/>
                  </a:lnTo>
                  <a:lnTo>
                    <a:pt x="2035339" y="1421514"/>
                  </a:lnTo>
                  <a:cubicBezTo>
                    <a:pt x="2149129" y="1696750"/>
                    <a:pt x="2214053" y="1999186"/>
                    <a:pt x="2218698" y="2316926"/>
                  </a:cubicBezTo>
                  <a:lnTo>
                    <a:pt x="971538" y="2316926"/>
                  </a:lnTo>
                  <a:lnTo>
                    <a:pt x="0" y="1302376"/>
                  </a:lnTo>
                  <a:close/>
                </a:path>
              </a:pathLst>
            </a:custGeom>
            <a:solidFill>
              <a:schemeClr val="accent5"/>
            </a:solidFill>
            <a:ln w="441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lowchart: Connector 65">
              <a:extLst>
                <a:ext uri="{FF2B5EF4-FFF2-40B4-BE49-F238E27FC236}">
                  <a16:creationId xmlns:a16="http://schemas.microsoft.com/office/drawing/2014/main" id="{270A5FF9-7F52-457B-9540-92DEF2416460}"/>
                </a:ext>
              </a:extLst>
            </p:cNvPr>
            <p:cNvSpPr/>
            <p:nvPr/>
          </p:nvSpPr>
          <p:spPr>
            <a:xfrm>
              <a:off x="7432985" y="4642121"/>
              <a:ext cx="1013061" cy="1013061"/>
            </a:xfrm>
            <a:prstGeom prst="flowChartConnector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D94463D-AA9E-41DD-BE2B-311095B91CCC}"/>
              </a:ext>
            </a:extLst>
          </p:cNvPr>
          <p:cNvGrpSpPr/>
          <p:nvPr/>
        </p:nvGrpSpPr>
        <p:grpSpPr>
          <a:xfrm>
            <a:off x="3862196" y="3556641"/>
            <a:ext cx="2218698" cy="2316926"/>
            <a:chOff x="3862196" y="3556641"/>
            <a:chExt cx="2218698" cy="2316926"/>
          </a:xfrm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BB0496D-BF18-4A06-9CA4-95F6A9C51CA4}"/>
                </a:ext>
              </a:extLst>
            </p:cNvPr>
            <p:cNvSpPr/>
            <p:nvPr/>
          </p:nvSpPr>
          <p:spPr>
            <a:xfrm rot="10800000">
              <a:off x="3862196" y="3556641"/>
              <a:ext cx="2218698" cy="2316926"/>
            </a:xfrm>
            <a:custGeom>
              <a:avLst/>
              <a:gdLst>
                <a:gd name="connsiteX0" fmla="*/ 0 w 2218698"/>
                <a:gd name="connsiteY0" fmla="*/ 0 h 2316926"/>
                <a:gd name="connsiteX1" fmla="*/ 857513 w 2218698"/>
                <a:gd name="connsiteY1" fmla="*/ 191672 h 2316926"/>
                <a:gd name="connsiteX2" fmla="*/ 1049988 w 2218698"/>
                <a:gd name="connsiteY2" fmla="*/ 290099 h 2316926"/>
                <a:gd name="connsiteX3" fmla="*/ 1127134 w 2218698"/>
                <a:gd name="connsiteY3" fmla="*/ 226448 h 2316926"/>
                <a:gd name="connsiteX4" fmla="*/ 1517357 w 2218698"/>
                <a:gd name="connsiteY4" fmla="*/ 107251 h 2316926"/>
                <a:gd name="connsiteX5" fmla="*/ 2215295 w 2218698"/>
                <a:gd name="connsiteY5" fmla="*/ 805189 h 2316926"/>
                <a:gd name="connsiteX6" fmla="*/ 2010874 w 2218698"/>
                <a:gd name="connsiteY6" fmla="*/ 1298706 h 2316926"/>
                <a:gd name="connsiteX7" fmla="*/ 1986989 w 2218698"/>
                <a:gd name="connsiteY7" fmla="*/ 1318413 h 2316926"/>
                <a:gd name="connsiteX8" fmla="*/ 2035339 w 2218698"/>
                <a:gd name="connsiteY8" fmla="*/ 1421514 h 2316926"/>
                <a:gd name="connsiteX9" fmla="*/ 2218698 w 2218698"/>
                <a:gd name="connsiteY9" fmla="*/ 2316926 h 2316926"/>
                <a:gd name="connsiteX10" fmla="*/ 971538 w 2218698"/>
                <a:gd name="connsiteY10" fmla="*/ 2316926 h 2316926"/>
                <a:gd name="connsiteX11" fmla="*/ 0 w 2218698"/>
                <a:gd name="connsiteY11" fmla="*/ 1302376 h 2316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8698" h="2316926">
                  <a:moveTo>
                    <a:pt x="0" y="0"/>
                  </a:moveTo>
                  <a:cubicBezTo>
                    <a:pt x="304270" y="4967"/>
                    <a:pt x="593911" y="72823"/>
                    <a:pt x="857513" y="191672"/>
                  </a:cubicBezTo>
                  <a:lnTo>
                    <a:pt x="1049988" y="290099"/>
                  </a:lnTo>
                  <a:lnTo>
                    <a:pt x="1127134" y="226448"/>
                  </a:lnTo>
                  <a:cubicBezTo>
                    <a:pt x="1238525" y="151193"/>
                    <a:pt x="1372810" y="107251"/>
                    <a:pt x="1517357" y="107251"/>
                  </a:cubicBezTo>
                  <a:cubicBezTo>
                    <a:pt x="1902818" y="107251"/>
                    <a:pt x="2215295" y="419729"/>
                    <a:pt x="2215295" y="805189"/>
                  </a:cubicBezTo>
                  <a:cubicBezTo>
                    <a:pt x="2215295" y="997920"/>
                    <a:pt x="2137176" y="1172404"/>
                    <a:pt x="2010874" y="1298706"/>
                  </a:cubicBezTo>
                  <a:lnTo>
                    <a:pt x="1986989" y="1318413"/>
                  </a:lnTo>
                  <a:lnTo>
                    <a:pt x="2035339" y="1421514"/>
                  </a:lnTo>
                  <a:cubicBezTo>
                    <a:pt x="2149129" y="1696750"/>
                    <a:pt x="2214053" y="1999186"/>
                    <a:pt x="2218698" y="2316926"/>
                  </a:cubicBezTo>
                  <a:lnTo>
                    <a:pt x="971538" y="2316926"/>
                  </a:lnTo>
                  <a:lnTo>
                    <a:pt x="0" y="1302376"/>
                  </a:lnTo>
                  <a:close/>
                </a:path>
              </a:pathLst>
            </a:custGeom>
            <a:solidFill>
              <a:schemeClr val="tx2"/>
            </a:solidFill>
            <a:ln w="441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lowchart: Connector 66">
              <a:extLst>
                <a:ext uri="{FF2B5EF4-FFF2-40B4-BE49-F238E27FC236}">
                  <a16:creationId xmlns:a16="http://schemas.microsoft.com/office/drawing/2014/main" id="{2DD8510A-4C9B-4E9B-82C4-B9245B5169FE}"/>
                </a:ext>
              </a:extLst>
            </p:cNvPr>
            <p:cNvSpPr/>
            <p:nvPr/>
          </p:nvSpPr>
          <p:spPr>
            <a:xfrm>
              <a:off x="4004960" y="4589286"/>
              <a:ext cx="1013061" cy="1013061"/>
            </a:xfrm>
            <a:prstGeom prst="flowChartConnector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69F62BFF-4C7D-4581-9EE0-1BBE4D3FD7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346221" y="2654218"/>
            <a:ext cx="1099825" cy="874329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69" name="Text Placeholder 5">
            <a:extLst>
              <a:ext uri="{FF2B5EF4-FFF2-40B4-BE49-F238E27FC236}">
                <a16:creationId xmlns:a16="http://schemas.microsoft.com/office/drawing/2014/main" id="{475E4E44-91F1-425B-A329-6477E56672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89602" y="3679629"/>
            <a:ext cx="1099825" cy="81642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6A78DE28-5614-4C8B-81B3-8D6764CFC5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035338" y="2654218"/>
            <a:ext cx="1099825" cy="774782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F1FBDBE2-C811-42D4-90AA-D5DAE2484A9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35337" y="3575722"/>
            <a:ext cx="1099825" cy="874329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900">
                <a:latin typeface="+mj-lt"/>
              </a:defRPr>
            </a:lvl3pPr>
            <a:lvl4pPr>
              <a:defRPr sz="800">
                <a:latin typeface="+mj-lt"/>
              </a:defRPr>
            </a:lvl4pPr>
            <a:lvl5pPr>
              <a:defRPr sz="800">
                <a:latin typeface="+mj-lt"/>
              </a:defRPr>
            </a:lvl5pPr>
          </a:lstStyle>
          <a:p>
            <a:pPr lvl="0"/>
            <a:r>
              <a:rPr lang="en-US" dirty="0"/>
              <a:t>Enter supporting text here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0B13F1AB-321A-4CFB-91FE-45ABC3B1C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0310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- Ful Typ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nip Diagonal Corner Rectangle 2">
            <a:extLst>
              <a:ext uri="{FF2B5EF4-FFF2-40B4-BE49-F238E27FC236}">
                <a16:creationId xmlns:a16="http://schemas.microsoft.com/office/drawing/2014/main" id="{E23AC76A-BD80-412B-B07F-6D43EEB0396E}"/>
              </a:ext>
            </a:extLst>
          </p:cNvPr>
          <p:cNvSpPr/>
          <p:nvPr/>
        </p:nvSpPr>
        <p:spPr>
          <a:xfrm flipH="1" flipV="1">
            <a:off x="1362563" y="1077170"/>
            <a:ext cx="4635820" cy="2343107"/>
          </a:xfrm>
          <a:prstGeom prst="snip2DiagRect">
            <a:avLst>
              <a:gd name="adj1" fmla="val 1383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nip Diagonal Corner Rectangle 2">
            <a:extLst>
              <a:ext uri="{FF2B5EF4-FFF2-40B4-BE49-F238E27FC236}">
                <a16:creationId xmlns:a16="http://schemas.microsoft.com/office/drawing/2014/main" id="{40E2C919-3083-449C-84BC-3FA91650AEBC}"/>
              </a:ext>
            </a:extLst>
          </p:cNvPr>
          <p:cNvSpPr/>
          <p:nvPr/>
        </p:nvSpPr>
        <p:spPr>
          <a:xfrm flipH="1" flipV="1">
            <a:off x="6308942" y="1077169"/>
            <a:ext cx="4635820" cy="2389181"/>
          </a:xfrm>
          <a:prstGeom prst="snip2Diag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nip Diagonal Corner Rectangle 2">
            <a:extLst>
              <a:ext uri="{FF2B5EF4-FFF2-40B4-BE49-F238E27FC236}">
                <a16:creationId xmlns:a16="http://schemas.microsoft.com/office/drawing/2014/main" id="{73EC2116-8744-4FDB-9105-F8DAF5FB93BF}"/>
              </a:ext>
            </a:extLst>
          </p:cNvPr>
          <p:cNvSpPr/>
          <p:nvPr/>
        </p:nvSpPr>
        <p:spPr>
          <a:xfrm flipH="1" flipV="1">
            <a:off x="1387119" y="3654989"/>
            <a:ext cx="4635812" cy="2310747"/>
          </a:xfrm>
          <a:prstGeom prst="snip2Diag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Snip Diagonal Corner Rectangle 2">
            <a:extLst>
              <a:ext uri="{FF2B5EF4-FFF2-40B4-BE49-F238E27FC236}">
                <a16:creationId xmlns:a16="http://schemas.microsoft.com/office/drawing/2014/main" id="{C9D0580F-8F65-486B-9480-071ED446E8C5}"/>
              </a:ext>
            </a:extLst>
          </p:cNvPr>
          <p:cNvSpPr/>
          <p:nvPr/>
        </p:nvSpPr>
        <p:spPr>
          <a:xfrm flipH="1" flipV="1">
            <a:off x="6308939" y="3597615"/>
            <a:ext cx="4635819" cy="2407422"/>
          </a:xfrm>
          <a:prstGeom prst="snip2DiagRect">
            <a:avLst>
              <a:gd name="adj1" fmla="val 16563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A593DD-DA36-4D39-823E-849E4B3B6D2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515" y="6228335"/>
            <a:ext cx="1636284" cy="38722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55BB4CD-2D22-4F02-8C8B-A2F2631B16CF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20" name="Text Placeholder 40">
            <a:extLst>
              <a:ext uri="{FF2B5EF4-FFF2-40B4-BE49-F238E27FC236}">
                <a16:creationId xmlns:a16="http://schemas.microsoft.com/office/drawing/2014/main" id="{E30B6E9E-4E94-4DAB-8CB5-E3234942F9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0002" y="1307817"/>
            <a:ext cx="4160942" cy="311663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⁄"/>
              <a:defRPr sz="1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44E975E2-495B-4997-824F-0C96F136A4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0001" y="1874267"/>
            <a:ext cx="4160941" cy="1317600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1"/>
            <a:r>
              <a:rPr lang="en-US" dirty="0"/>
              <a:t>Bullet Point -2</a:t>
            </a:r>
          </a:p>
          <a:p>
            <a:pPr lvl="2"/>
            <a:r>
              <a:rPr lang="en-US" dirty="0"/>
              <a:t>Bullet Point- 3</a:t>
            </a:r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F4529CFE-4989-4028-B6F8-E56C9A99E8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31731" y="3844315"/>
            <a:ext cx="4160942" cy="311663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⁄"/>
              <a:defRPr sz="1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9E931A0-0104-4166-85FA-F77CE4C55D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31730" y="4410765"/>
            <a:ext cx="4160941" cy="1317600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1"/>
            <a:r>
              <a:rPr lang="en-US" dirty="0"/>
              <a:t>Bullet Point -2</a:t>
            </a:r>
          </a:p>
          <a:p>
            <a:pPr lvl="2"/>
            <a:r>
              <a:rPr lang="en-US" dirty="0"/>
              <a:t>Bullet Point- 3</a:t>
            </a:r>
          </a:p>
        </p:txBody>
      </p:sp>
      <p:sp>
        <p:nvSpPr>
          <p:cNvPr id="36" name="Text Placeholder 40">
            <a:extLst>
              <a:ext uri="{FF2B5EF4-FFF2-40B4-BE49-F238E27FC236}">
                <a16:creationId xmlns:a16="http://schemas.microsoft.com/office/drawing/2014/main" id="{037D7C61-B183-498A-B421-6DE7BBE3F6B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36287" y="1303617"/>
            <a:ext cx="4160942" cy="311663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⁄"/>
              <a:defRPr sz="1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82158D00-503A-4FAC-A8C3-88ECD3A615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36286" y="1870067"/>
            <a:ext cx="4160941" cy="1317600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1"/>
            <a:r>
              <a:rPr lang="en-US" dirty="0"/>
              <a:t>Bullet Point -2</a:t>
            </a:r>
          </a:p>
          <a:p>
            <a:pPr lvl="2"/>
            <a:r>
              <a:rPr lang="en-US" dirty="0"/>
              <a:t>Bullet Point- 3</a:t>
            </a:r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D559B70F-A7BB-4522-A73D-D0614D7675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69422" y="3844315"/>
            <a:ext cx="4160942" cy="311663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⁄"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23E34E2F-CB7D-437F-9273-44BC802CC6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69421" y="4410765"/>
            <a:ext cx="4160941" cy="1317600"/>
          </a:xfrm>
        </p:spPr>
        <p:txBody>
          <a:bodyPr>
            <a:normAutofit/>
          </a:bodyPr>
          <a:lstStyle>
            <a:lvl1pPr>
              <a:spcBef>
                <a:spcPts val="200"/>
              </a:spcBef>
              <a:spcAft>
                <a:spcPts val="200"/>
              </a:spcAft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solidFill>
                  <a:schemeClr val="accent1"/>
                </a:solidFill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solidFill>
                  <a:schemeClr val="accent1"/>
                </a:solidFill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1"/>
            <a:r>
              <a:rPr lang="en-US" dirty="0"/>
              <a:t>Bullet Point -2</a:t>
            </a:r>
          </a:p>
          <a:p>
            <a:pPr lvl="2"/>
            <a:r>
              <a:rPr lang="en-US" dirty="0"/>
              <a:t>Bullet Point- 3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57FCC391-7165-4FE5-953C-33CB378F1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7528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ks- Headers&amp;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EA593DD-DA36-4D39-823E-849E4B3B6D2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515" y="6228335"/>
            <a:ext cx="1636284" cy="38722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55BB4CD-2D22-4F02-8C8B-A2F2631B16CF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11" name="Snip Diagonal Corner Rectangle 2">
            <a:extLst>
              <a:ext uri="{FF2B5EF4-FFF2-40B4-BE49-F238E27FC236}">
                <a16:creationId xmlns:a16="http://schemas.microsoft.com/office/drawing/2014/main" id="{89F4EA0E-20C9-4CDB-8BCB-B07817A5E4C2}"/>
              </a:ext>
            </a:extLst>
          </p:cNvPr>
          <p:cNvSpPr/>
          <p:nvPr/>
        </p:nvSpPr>
        <p:spPr>
          <a:xfrm flipH="1" flipV="1">
            <a:off x="1362563" y="1077170"/>
            <a:ext cx="4635820" cy="2343107"/>
          </a:xfrm>
          <a:prstGeom prst="snip2DiagRect">
            <a:avLst>
              <a:gd name="adj1" fmla="val 13830"/>
              <a:gd name="adj2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nip Diagonal Corner Rectangle 2">
            <a:extLst>
              <a:ext uri="{FF2B5EF4-FFF2-40B4-BE49-F238E27FC236}">
                <a16:creationId xmlns:a16="http://schemas.microsoft.com/office/drawing/2014/main" id="{265387A5-D177-4315-AAEF-65C6C7E19FD2}"/>
              </a:ext>
            </a:extLst>
          </p:cNvPr>
          <p:cNvSpPr/>
          <p:nvPr/>
        </p:nvSpPr>
        <p:spPr>
          <a:xfrm flipH="1" flipV="1">
            <a:off x="6308942" y="1077169"/>
            <a:ext cx="4635820" cy="2389181"/>
          </a:xfrm>
          <a:prstGeom prst="snip2Diag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nip Diagonal Corner Rectangle 2">
            <a:extLst>
              <a:ext uri="{FF2B5EF4-FFF2-40B4-BE49-F238E27FC236}">
                <a16:creationId xmlns:a16="http://schemas.microsoft.com/office/drawing/2014/main" id="{3DA16EFD-D04D-47B5-ACFA-9E10EBD8DB54}"/>
              </a:ext>
            </a:extLst>
          </p:cNvPr>
          <p:cNvSpPr/>
          <p:nvPr/>
        </p:nvSpPr>
        <p:spPr>
          <a:xfrm flipH="1" flipV="1">
            <a:off x="1387119" y="3654989"/>
            <a:ext cx="4635812" cy="2310747"/>
          </a:xfrm>
          <a:prstGeom prst="snip2Diag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Snip Diagonal Corner Rectangle 2">
            <a:extLst>
              <a:ext uri="{FF2B5EF4-FFF2-40B4-BE49-F238E27FC236}">
                <a16:creationId xmlns:a16="http://schemas.microsoft.com/office/drawing/2014/main" id="{D7C98AB5-E45A-4E83-B8BA-F402C30FA5C7}"/>
              </a:ext>
            </a:extLst>
          </p:cNvPr>
          <p:cNvSpPr/>
          <p:nvPr/>
        </p:nvSpPr>
        <p:spPr>
          <a:xfrm flipH="1" flipV="1">
            <a:off x="6308939" y="3597615"/>
            <a:ext cx="4635819" cy="2407422"/>
          </a:xfrm>
          <a:prstGeom prst="snip2DiagRect">
            <a:avLst>
              <a:gd name="adj1" fmla="val 16563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E808F7C-B81E-40C6-A86B-54A59E816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0596"/>
            <a:ext cx="10598096" cy="663277"/>
          </a:xfrm>
        </p:spPr>
        <p:txBody>
          <a:bodyPr lIns="0" tIns="0" rIns="0" bIns="0" anchor="ctr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56B1482B-D500-4097-95D0-F195933FBC6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59488" y="1348277"/>
            <a:ext cx="3734719" cy="837282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⁄"/>
              <a:defRPr sz="2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26" name="Text Placeholder 40">
            <a:extLst>
              <a:ext uri="{FF2B5EF4-FFF2-40B4-BE49-F238E27FC236}">
                <a16:creationId xmlns:a16="http://schemas.microsoft.com/office/drawing/2014/main" id="{AB400EF1-F22F-44EC-AA0D-899C13509D9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697793" y="1348277"/>
            <a:ext cx="3734719" cy="837282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⁄"/>
              <a:defRPr sz="2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53778EE2-68EA-4747-82B7-E5FC18CB45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59487" y="3934275"/>
            <a:ext cx="3734719" cy="837282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⁄"/>
              <a:defRPr sz="2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41688DBA-3AEB-49C9-8347-549A977CEC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97792" y="3964044"/>
            <a:ext cx="3734719" cy="837282"/>
          </a:xfrm>
        </p:spPr>
        <p:txBody>
          <a:bodyPr>
            <a:noAutofit/>
          </a:bodyPr>
          <a:lstStyle>
            <a:lvl1pPr marL="228600" indent="-228600"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Char char="⁄"/>
              <a:defRPr sz="2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42699803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k Colum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DA6550C-5E96-428A-BDC9-6E2A8CE931F3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C942304-8CFE-4293-B231-B62CA0B02903}"/>
              </a:ext>
            </a:extLst>
          </p:cNvPr>
          <p:cNvSpPr/>
          <p:nvPr/>
        </p:nvSpPr>
        <p:spPr>
          <a:xfrm>
            <a:off x="2082802" y="1689453"/>
            <a:ext cx="1850372" cy="1966586"/>
          </a:xfrm>
          <a:prstGeom prst="roundRect">
            <a:avLst>
              <a:gd name="adj" fmla="val 583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1AD8A64-271D-4325-8AC9-0320B69C856E}"/>
              </a:ext>
            </a:extLst>
          </p:cNvPr>
          <p:cNvSpPr/>
          <p:nvPr/>
        </p:nvSpPr>
        <p:spPr>
          <a:xfrm>
            <a:off x="4915772" y="1689453"/>
            <a:ext cx="1850372" cy="1966586"/>
          </a:xfrm>
          <a:custGeom>
            <a:avLst/>
            <a:gdLst>
              <a:gd name="connsiteX0" fmla="*/ 107988 w 1850372"/>
              <a:gd name="connsiteY0" fmla="*/ 0 h 1966586"/>
              <a:gd name="connsiteX1" fmla="*/ 1742384 w 1850372"/>
              <a:gd name="connsiteY1" fmla="*/ 0 h 1966586"/>
              <a:gd name="connsiteX2" fmla="*/ 1850372 w 1850372"/>
              <a:gd name="connsiteY2" fmla="*/ 107988 h 1966586"/>
              <a:gd name="connsiteX3" fmla="*/ 1850372 w 1850372"/>
              <a:gd name="connsiteY3" fmla="*/ 1858598 h 1966586"/>
              <a:gd name="connsiteX4" fmla="*/ 1742384 w 1850372"/>
              <a:gd name="connsiteY4" fmla="*/ 1966586 h 1966586"/>
              <a:gd name="connsiteX5" fmla="*/ 107988 w 1850372"/>
              <a:gd name="connsiteY5" fmla="*/ 1966586 h 1966586"/>
              <a:gd name="connsiteX6" fmla="*/ 0 w 1850372"/>
              <a:gd name="connsiteY6" fmla="*/ 1858598 h 1966586"/>
              <a:gd name="connsiteX7" fmla="*/ 0 w 1850372"/>
              <a:gd name="connsiteY7" fmla="*/ 1249471 h 1966586"/>
              <a:gd name="connsiteX8" fmla="*/ 267744 w 1850372"/>
              <a:gd name="connsiteY8" fmla="*/ 963311 h 1966586"/>
              <a:gd name="connsiteX9" fmla="*/ 0 w 1850372"/>
              <a:gd name="connsiteY9" fmla="*/ 627045 h 1966586"/>
              <a:gd name="connsiteX10" fmla="*/ 0 w 1850372"/>
              <a:gd name="connsiteY10" fmla="*/ 107988 h 1966586"/>
              <a:gd name="connsiteX11" fmla="*/ 107988 w 1850372"/>
              <a:gd name="connsiteY11" fmla="*/ 0 h 1966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50372" h="1966586">
                <a:moveTo>
                  <a:pt x="107988" y="0"/>
                </a:moveTo>
                <a:lnTo>
                  <a:pt x="1742384" y="0"/>
                </a:lnTo>
                <a:cubicBezTo>
                  <a:pt x="1802024" y="0"/>
                  <a:pt x="1850372" y="48348"/>
                  <a:pt x="1850372" y="107988"/>
                </a:cubicBezTo>
                <a:lnTo>
                  <a:pt x="1850372" y="1858598"/>
                </a:lnTo>
                <a:cubicBezTo>
                  <a:pt x="1850372" y="1918238"/>
                  <a:pt x="1802024" y="1966586"/>
                  <a:pt x="1742384" y="1966586"/>
                </a:cubicBezTo>
                <a:lnTo>
                  <a:pt x="107988" y="1966586"/>
                </a:lnTo>
                <a:cubicBezTo>
                  <a:pt x="48348" y="1966586"/>
                  <a:pt x="0" y="1918238"/>
                  <a:pt x="0" y="1858598"/>
                </a:cubicBezTo>
                <a:lnTo>
                  <a:pt x="0" y="1249471"/>
                </a:lnTo>
                <a:lnTo>
                  <a:pt x="267744" y="963311"/>
                </a:lnTo>
                <a:lnTo>
                  <a:pt x="0" y="627045"/>
                </a:lnTo>
                <a:lnTo>
                  <a:pt x="0" y="107988"/>
                </a:lnTo>
                <a:cubicBezTo>
                  <a:pt x="0" y="48348"/>
                  <a:pt x="48348" y="0"/>
                  <a:pt x="10798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44D374D-87A0-4F18-91E6-34F76B4D9575}"/>
              </a:ext>
            </a:extLst>
          </p:cNvPr>
          <p:cNvSpPr/>
          <p:nvPr/>
        </p:nvSpPr>
        <p:spPr>
          <a:xfrm>
            <a:off x="7637796" y="1689453"/>
            <a:ext cx="1850372" cy="1966586"/>
          </a:xfrm>
          <a:custGeom>
            <a:avLst/>
            <a:gdLst>
              <a:gd name="connsiteX0" fmla="*/ 107988 w 1850372"/>
              <a:gd name="connsiteY0" fmla="*/ 0 h 1966586"/>
              <a:gd name="connsiteX1" fmla="*/ 1742384 w 1850372"/>
              <a:gd name="connsiteY1" fmla="*/ 0 h 1966586"/>
              <a:gd name="connsiteX2" fmla="*/ 1850372 w 1850372"/>
              <a:gd name="connsiteY2" fmla="*/ 107988 h 1966586"/>
              <a:gd name="connsiteX3" fmla="*/ 1850372 w 1850372"/>
              <a:gd name="connsiteY3" fmla="*/ 1858598 h 1966586"/>
              <a:gd name="connsiteX4" fmla="*/ 1742384 w 1850372"/>
              <a:gd name="connsiteY4" fmla="*/ 1966586 h 1966586"/>
              <a:gd name="connsiteX5" fmla="*/ 107988 w 1850372"/>
              <a:gd name="connsiteY5" fmla="*/ 1966586 h 1966586"/>
              <a:gd name="connsiteX6" fmla="*/ 0 w 1850372"/>
              <a:gd name="connsiteY6" fmla="*/ 1858598 h 1966586"/>
              <a:gd name="connsiteX7" fmla="*/ 0 w 1850372"/>
              <a:gd name="connsiteY7" fmla="*/ 1249470 h 1966586"/>
              <a:gd name="connsiteX8" fmla="*/ 291039 w 1850372"/>
              <a:gd name="connsiteY8" fmla="*/ 963311 h 1966586"/>
              <a:gd name="connsiteX9" fmla="*/ 0 w 1850372"/>
              <a:gd name="connsiteY9" fmla="*/ 627045 h 1966586"/>
              <a:gd name="connsiteX10" fmla="*/ 0 w 1850372"/>
              <a:gd name="connsiteY10" fmla="*/ 107988 h 1966586"/>
              <a:gd name="connsiteX11" fmla="*/ 107988 w 1850372"/>
              <a:gd name="connsiteY11" fmla="*/ 0 h 1966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50372" h="1966586">
                <a:moveTo>
                  <a:pt x="107988" y="0"/>
                </a:moveTo>
                <a:lnTo>
                  <a:pt x="1742384" y="0"/>
                </a:lnTo>
                <a:cubicBezTo>
                  <a:pt x="1802024" y="0"/>
                  <a:pt x="1850372" y="48348"/>
                  <a:pt x="1850372" y="107988"/>
                </a:cubicBezTo>
                <a:lnTo>
                  <a:pt x="1850372" y="1858598"/>
                </a:lnTo>
                <a:cubicBezTo>
                  <a:pt x="1850372" y="1918238"/>
                  <a:pt x="1802024" y="1966586"/>
                  <a:pt x="1742384" y="1966586"/>
                </a:cubicBezTo>
                <a:lnTo>
                  <a:pt x="107988" y="1966586"/>
                </a:lnTo>
                <a:cubicBezTo>
                  <a:pt x="48348" y="1966586"/>
                  <a:pt x="0" y="1918238"/>
                  <a:pt x="0" y="1858598"/>
                </a:cubicBezTo>
                <a:lnTo>
                  <a:pt x="0" y="1249470"/>
                </a:lnTo>
                <a:lnTo>
                  <a:pt x="291039" y="963311"/>
                </a:lnTo>
                <a:lnTo>
                  <a:pt x="0" y="627045"/>
                </a:lnTo>
                <a:lnTo>
                  <a:pt x="0" y="107988"/>
                </a:lnTo>
                <a:cubicBezTo>
                  <a:pt x="0" y="48348"/>
                  <a:pt x="48348" y="0"/>
                  <a:pt x="107988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1D977402-784D-468C-9C43-0E67833347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7687" y="1339018"/>
            <a:ext cx="1507392" cy="357014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CBEB409B-FB00-4AEA-9CDB-2C7B4F01F0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4684" y="1313176"/>
            <a:ext cx="1507392" cy="357014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A1DCF401-ABE5-40D7-8418-698E0AE9899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01681" y="1313176"/>
            <a:ext cx="1507392" cy="357014"/>
          </a:xfrm>
          <a:prstGeom prst="rect">
            <a:avLst/>
          </a:prstGeom>
        </p:spPr>
      </p:pic>
      <p:sp>
        <p:nvSpPr>
          <p:cNvPr id="46" name="Text Placeholder 40">
            <a:extLst>
              <a:ext uri="{FF2B5EF4-FFF2-40B4-BE49-F238E27FC236}">
                <a16:creationId xmlns:a16="http://schemas.microsoft.com/office/drawing/2014/main" id="{B90131A2-1A24-4E99-9A1A-9726A3CC6ED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084058" y="4006474"/>
            <a:ext cx="1849115" cy="700369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24D33CE4-331F-4C73-9781-4CA6777DBDA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082801" y="4869341"/>
            <a:ext cx="1849114" cy="118207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8" name="Text Placeholder 40">
            <a:extLst>
              <a:ext uri="{FF2B5EF4-FFF2-40B4-BE49-F238E27FC236}">
                <a16:creationId xmlns:a16="http://schemas.microsoft.com/office/drawing/2014/main" id="{A8576836-03E9-4C88-965F-904EDEADAE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918287" y="4059981"/>
            <a:ext cx="1849115" cy="700369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EFD915F6-7080-499F-8217-C723D64F083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17030" y="4922848"/>
            <a:ext cx="1849114" cy="118207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0" name="Text Placeholder 40">
            <a:extLst>
              <a:ext uri="{FF2B5EF4-FFF2-40B4-BE49-F238E27FC236}">
                <a16:creationId xmlns:a16="http://schemas.microsoft.com/office/drawing/2014/main" id="{16C12494-3370-4B89-90CB-6B80DD2033D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639053" y="4059981"/>
            <a:ext cx="1849115" cy="700369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BF2B39D0-1DB5-49D4-9F0A-FB9658A840A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37796" y="4922848"/>
            <a:ext cx="1849114" cy="118207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" name="Graphic 34">
            <a:extLst>
              <a:ext uri="{FF2B5EF4-FFF2-40B4-BE49-F238E27FC236}">
                <a16:creationId xmlns:a16="http://schemas.microsoft.com/office/drawing/2014/main" id="{A8850FE2-D198-45DE-AE57-59EC0E8E2090}"/>
              </a:ext>
            </a:extLst>
          </p:cNvPr>
          <p:cNvSpPr/>
          <p:nvPr/>
        </p:nvSpPr>
        <p:spPr>
          <a:xfrm>
            <a:off x="2083070" y="2581112"/>
            <a:ext cx="2715459" cy="1279326"/>
          </a:xfrm>
          <a:custGeom>
            <a:avLst/>
            <a:gdLst>
              <a:gd name="connsiteX0" fmla="*/ 2715459 w 2715459"/>
              <a:gd name="connsiteY0" fmla="*/ 4100 h 1279326"/>
              <a:gd name="connsiteX1" fmla="*/ 2060027 w 2715459"/>
              <a:gd name="connsiteY1" fmla="*/ 465068 h 1279326"/>
              <a:gd name="connsiteX2" fmla="*/ 1618602 w 2715459"/>
              <a:gd name="connsiteY2" fmla="*/ 1269577 h 1279326"/>
              <a:gd name="connsiteX3" fmla="*/ 0 w 2715459"/>
              <a:gd name="connsiteY3" fmla="*/ 1269577 h 1279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5459" h="1279326">
                <a:moveTo>
                  <a:pt x="2715459" y="4100"/>
                </a:moveTo>
                <a:cubicBezTo>
                  <a:pt x="2715459" y="4100"/>
                  <a:pt x="2086711" y="-75333"/>
                  <a:pt x="2060027" y="465068"/>
                </a:cubicBezTo>
                <a:cubicBezTo>
                  <a:pt x="2033343" y="1005470"/>
                  <a:pt x="2113529" y="1247639"/>
                  <a:pt x="1618602" y="1269577"/>
                </a:cubicBezTo>
                <a:cubicBezTo>
                  <a:pt x="1123675" y="1291514"/>
                  <a:pt x="0" y="1269577"/>
                  <a:pt x="0" y="1269577"/>
                </a:cubicBezTo>
              </a:path>
            </a:pathLst>
          </a:custGeom>
          <a:noFill/>
          <a:ln w="48986" cap="flat">
            <a:solidFill>
              <a:schemeClr val="accent6"/>
            </a:solidFill>
            <a:prstDash val="solid"/>
            <a:miter/>
            <a:headEnd type="oval" w="med" len="med"/>
            <a:tailEnd type="oval" w="med" len="med"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Graphic 35">
            <a:extLst>
              <a:ext uri="{FF2B5EF4-FFF2-40B4-BE49-F238E27FC236}">
                <a16:creationId xmlns:a16="http://schemas.microsoft.com/office/drawing/2014/main" id="{BF5C8AE9-0687-4512-ADBD-FD244C279EA0}"/>
              </a:ext>
            </a:extLst>
          </p:cNvPr>
          <p:cNvSpPr/>
          <p:nvPr/>
        </p:nvSpPr>
        <p:spPr>
          <a:xfrm>
            <a:off x="4860567" y="2611885"/>
            <a:ext cx="2715444" cy="1279326"/>
          </a:xfrm>
          <a:custGeom>
            <a:avLst/>
            <a:gdLst>
              <a:gd name="connsiteX0" fmla="*/ 2715445 w 2715444"/>
              <a:gd name="connsiteY0" fmla="*/ 4100 h 1279326"/>
              <a:gd name="connsiteX1" fmla="*/ 2060016 w 2715444"/>
              <a:gd name="connsiteY1" fmla="*/ 465068 h 1279326"/>
              <a:gd name="connsiteX2" fmla="*/ 1618593 w 2715444"/>
              <a:gd name="connsiteY2" fmla="*/ 1269577 h 1279326"/>
              <a:gd name="connsiteX3" fmla="*/ 0 w 2715444"/>
              <a:gd name="connsiteY3" fmla="*/ 1269577 h 1279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15444" h="1279326">
                <a:moveTo>
                  <a:pt x="2715445" y="4100"/>
                </a:moveTo>
                <a:cubicBezTo>
                  <a:pt x="2715445" y="4100"/>
                  <a:pt x="2086699" y="-75333"/>
                  <a:pt x="2060016" y="465068"/>
                </a:cubicBezTo>
                <a:cubicBezTo>
                  <a:pt x="2033332" y="1005470"/>
                  <a:pt x="2113517" y="1247639"/>
                  <a:pt x="1618593" y="1269577"/>
                </a:cubicBezTo>
                <a:cubicBezTo>
                  <a:pt x="1123669" y="1291514"/>
                  <a:pt x="0" y="1269577"/>
                  <a:pt x="0" y="1269577"/>
                </a:cubicBezTo>
              </a:path>
            </a:pathLst>
          </a:custGeom>
          <a:noFill/>
          <a:ln w="49924" cap="flat">
            <a:solidFill>
              <a:schemeClr val="accent4"/>
            </a:solidFill>
            <a:prstDash val="solid"/>
            <a:miter/>
            <a:headEnd type="oval" w="med" len="med"/>
            <a:tailEnd type="oval" w="med" len="med"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2DFB16E-1EB2-435C-B140-219DBE195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4201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cks Column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338DDE-A12C-4757-BD16-FFCD36D2F594}"/>
              </a:ext>
            </a:extLst>
          </p:cNvPr>
          <p:cNvSpPr/>
          <p:nvPr/>
        </p:nvSpPr>
        <p:spPr>
          <a:xfrm>
            <a:off x="1167254" y="1984153"/>
            <a:ext cx="3125346" cy="39816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3A5E1FF-4ABA-4B1B-886C-C1FB85540038}"/>
              </a:ext>
            </a:extLst>
          </p:cNvPr>
          <p:cNvSpPr/>
          <p:nvPr/>
        </p:nvSpPr>
        <p:spPr>
          <a:xfrm>
            <a:off x="1167254" y="1053436"/>
            <a:ext cx="3125346" cy="9307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65BCCB-E892-4991-A58A-09526F895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0811678C-2DE5-4EA3-9902-E45F7E7392A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8813E4-1875-485D-A5BC-CD4D6C9B72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85078E0-499A-4CB5-BEFF-335E6AB5E67C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0AC871C-2D41-4C33-B332-EF550D6E1E92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30" name="Text Placeholder 40">
            <a:extLst>
              <a:ext uri="{FF2B5EF4-FFF2-40B4-BE49-F238E27FC236}">
                <a16:creationId xmlns:a16="http://schemas.microsoft.com/office/drawing/2014/main" id="{EF00AEFA-9A4F-4DD0-B58D-792583FA812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72001" y="1240985"/>
            <a:ext cx="2880899" cy="418490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onth / 01</a:t>
            </a:r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7EFDA741-2EC7-4A79-B9CA-B5D5A17AD59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72001" y="2126023"/>
            <a:ext cx="2880899" cy="727126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BBA04B6-2EF1-41B5-A78C-6A30207444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72002" y="2943311"/>
            <a:ext cx="2880898" cy="282260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4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5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BF7F223-49B3-4D92-A7B5-434411BDCDE7}"/>
              </a:ext>
            </a:extLst>
          </p:cNvPr>
          <p:cNvSpPr/>
          <p:nvPr/>
        </p:nvSpPr>
        <p:spPr>
          <a:xfrm>
            <a:off x="4910552" y="1984153"/>
            <a:ext cx="3125346" cy="39816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100372B-A930-4F97-9AE6-013DDD86232C}"/>
              </a:ext>
            </a:extLst>
          </p:cNvPr>
          <p:cNvSpPr/>
          <p:nvPr/>
        </p:nvSpPr>
        <p:spPr>
          <a:xfrm>
            <a:off x="4910552" y="1053436"/>
            <a:ext cx="3125346" cy="9307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209B85EB-7C2B-497A-BBA3-766A2F7DD72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15299" y="1240985"/>
            <a:ext cx="2880899" cy="418490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onth / 01</a:t>
            </a:r>
          </a:p>
        </p:txBody>
      </p:sp>
      <p:sp>
        <p:nvSpPr>
          <p:cNvPr id="66" name="Text Placeholder 40">
            <a:extLst>
              <a:ext uri="{FF2B5EF4-FFF2-40B4-BE49-F238E27FC236}">
                <a16:creationId xmlns:a16="http://schemas.microsoft.com/office/drawing/2014/main" id="{D170CC1F-867D-4582-8A9C-E62A4BACFA2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015299" y="2126023"/>
            <a:ext cx="2880899" cy="727126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E26186C7-EBAC-4508-AEF8-65001411A09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15300" y="2943311"/>
            <a:ext cx="2880898" cy="282260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4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5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C1158F71-14F5-44E6-AB16-30F4470DC27B}"/>
              </a:ext>
            </a:extLst>
          </p:cNvPr>
          <p:cNvSpPr/>
          <p:nvPr/>
        </p:nvSpPr>
        <p:spPr>
          <a:xfrm>
            <a:off x="8653850" y="1984153"/>
            <a:ext cx="3125346" cy="39816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B3EF2C6-4BA3-41C5-95C7-1C12CEFB5CEF}"/>
              </a:ext>
            </a:extLst>
          </p:cNvPr>
          <p:cNvSpPr/>
          <p:nvPr/>
        </p:nvSpPr>
        <p:spPr>
          <a:xfrm>
            <a:off x="8653850" y="1053436"/>
            <a:ext cx="3125346" cy="93071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 Placeholder 40">
            <a:extLst>
              <a:ext uri="{FF2B5EF4-FFF2-40B4-BE49-F238E27FC236}">
                <a16:creationId xmlns:a16="http://schemas.microsoft.com/office/drawing/2014/main" id="{E8A333C1-B611-446D-ACEF-201EFC8B8A7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58597" y="1240985"/>
            <a:ext cx="2880899" cy="418490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28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onth / 01</a:t>
            </a:r>
          </a:p>
        </p:txBody>
      </p:sp>
      <p:sp>
        <p:nvSpPr>
          <p:cNvPr id="71" name="Text Placeholder 40">
            <a:extLst>
              <a:ext uri="{FF2B5EF4-FFF2-40B4-BE49-F238E27FC236}">
                <a16:creationId xmlns:a16="http://schemas.microsoft.com/office/drawing/2014/main" id="{FB5FA526-306D-4299-941A-B0E1FD772D7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758597" y="2126023"/>
            <a:ext cx="2880899" cy="727126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2" name="Text Placeholder 3">
            <a:extLst>
              <a:ext uri="{FF2B5EF4-FFF2-40B4-BE49-F238E27FC236}">
                <a16:creationId xmlns:a16="http://schemas.microsoft.com/office/drawing/2014/main" id="{EBD0F816-B5E7-4E08-B014-25911CB2482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58598" y="2943311"/>
            <a:ext cx="2880898" cy="282260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4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5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7CA7542-401B-43E1-A124-660BF436F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00941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- 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65BCCB-E892-4991-A58A-09526F895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0811678C-2DE5-4EA3-9902-E45F7E7392A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8813E4-1875-485D-A5BC-CD4D6C9B72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85078E0-499A-4CB5-BEFF-335E6AB5E67C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0AC871C-2D41-4C33-B332-EF550D6E1E92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223ADF8-BC8D-4A6D-9C96-9CA7BD4F74D6}"/>
              </a:ext>
            </a:extLst>
          </p:cNvPr>
          <p:cNvCxnSpPr>
            <a:cxnSpLocks/>
          </p:cNvCxnSpPr>
          <p:nvPr/>
        </p:nvCxnSpPr>
        <p:spPr>
          <a:xfrm>
            <a:off x="1754749" y="5588475"/>
            <a:ext cx="8933635" cy="0"/>
          </a:xfrm>
          <a:prstGeom prst="straightConnector1">
            <a:avLst/>
          </a:prstGeom>
          <a:ln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AC7BBD0-5320-4C26-B297-0135F46A5ED8}"/>
              </a:ext>
            </a:extLst>
          </p:cNvPr>
          <p:cNvSpPr txBox="1"/>
          <p:nvPr/>
        </p:nvSpPr>
        <p:spPr>
          <a:xfrm>
            <a:off x="1541272" y="1602697"/>
            <a:ext cx="14349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B39D045-B68B-4E4B-90C9-48147E594CFA}"/>
              </a:ext>
            </a:extLst>
          </p:cNvPr>
          <p:cNvSpPr txBox="1"/>
          <p:nvPr/>
        </p:nvSpPr>
        <p:spPr>
          <a:xfrm>
            <a:off x="6219179" y="2502114"/>
            <a:ext cx="785471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dirty="0"/>
              <a:t>HEADLINE</a:t>
            </a:r>
            <a:br>
              <a:rPr lang="en-US" sz="1200" b="1" dirty="0"/>
            </a:br>
            <a:r>
              <a:rPr lang="en-US" sz="1200" b="1" dirty="0"/>
              <a:t>THRE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47CFDB8-A730-4593-B881-1B94DDA2BAD8}"/>
              </a:ext>
            </a:extLst>
          </p:cNvPr>
          <p:cNvSpPr txBox="1"/>
          <p:nvPr/>
        </p:nvSpPr>
        <p:spPr>
          <a:xfrm>
            <a:off x="7819379" y="2502114"/>
            <a:ext cx="785471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dirty="0"/>
              <a:t>HEADLINE</a:t>
            </a:r>
            <a:br>
              <a:rPr lang="en-US" sz="1200" b="1" dirty="0"/>
            </a:br>
            <a:r>
              <a:rPr lang="en-US" sz="1200" b="1" dirty="0"/>
              <a:t>FOU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C4E4250-E9E2-4E3D-A17E-978954232CC1}"/>
              </a:ext>
            </a:extLst>
          </p:cNvPr>
          <p:cNvSpPr txBox="1"/>
          <p:nvPr/>
        </p:nvSpPr>
        <p:spPr>
          <a:xfrm>
            <a:off x="9340503" y="2502114"/>
            <a:ext cx="785471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b="1" dirty="0"/>
              <a:t>HEADLINE</a:t>
            </a:r>
            <a:br>
              <a:rPr lang="en-US" sz="1200" b="1" dirty="0"/>
            </a:br>
            <a:r>
              <a:rPr lang="en-US" sz="1200" b="1" dirty="0"/>
              <a:t>FIVE</a:t>
            </a:r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8D52AE5B-6FB0-4974-B6BB-2F17AA1021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845229" y="1716487"/>
            <a:ext cx="1849115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A1823997-52C0-4A08-81EB-BB233455B7A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856088" y="2435707"/>
            <a:ext cx="1827395" cy="70037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BE125B5C-A650-4E34-B9A6-08E344E7D1C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845229" y="3284583"/>
            <a:ext cx="1849437" cy="19637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E990675-F7DA-4489-A561-B82C78FCD607}"/>
              </a:ext>
            </a:extLst>
          </p:cNvPr>
          <p:cNvSpPr txBox="1"/>
          <p:nvPr/>
        </p:nvSpPr>
        <p:spPr>
          <a:xfrm>
            <a:off x="3874634" y="1602697"/>
            <a:ext cx="14349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2</a:t>
            </a:r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29730D14-916A-417C-BE73-BFBD6ACD0C7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178591" y="1716487"/>
            <a:ext cx="1849115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276053AB-9810-48A6-A16A-D1AD1E5FB78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89450" y="2435707"/>
            <a:ext cx="1827395" cy="70037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sp>
        <p:nvSpPr>
          <p:cNvPr id="57" name="Picture Placeholder 51">
            <a:extLst>
              <a:ext uri="{FF2B5EF4-FFF2-40B4-BE49-F238E27FC236}">
                <a16:creationId xmlns:a16="http://schemas.microsoft.com/office/drawing/2014/main" id="{70B64F5A-C16E-4028-B5CF-886AD44F2333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178591" y="3284583"/>
            <a:ext cx="1849437" cy="19637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62CFE1D-77C4-4DBC-8682-4826F35709E2}"/>
              </a:ext>
            </a:extLst>
          </p:cNvPr>
          <p:cNvSpPr txBox="1"/>
          <p:nvPr/>
        </p:nvSpPr>
        <p:spPr>
          <a:xfrm>
            <a:off x="6177637" y="1629738"/>
            <a:ext cx="14349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59" name="Text Placeholder 40">
            <a:extLst>
              <a:ext uri="{FF2B5EF4-FFF2-40B4-BE49-F238E27FC236}">
                <a16:creationId xmlns:a16="http://schemas.microsoft.com/office/drawing/2014/main" id="{02A57E6B-BB10-4A4C-96F5-750C6DA2EBB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481594" y="1743528"/>
            <a:ext cx="1849115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A1F39CA-7F3C-45E6-9C16-9396E4691A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92453" y="2462748"/>
            <a:ext cx="1827395" cy="70037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sp>
        <p:nvSpPr>
          <p:cNvPr id="61" name="Picture Placeholder 51">
            <a:extLst>
              <a:ext uri="{FF2B5EF4-FFF2-40B4-BE49-F238E27FC236}">
                <a16:creationId xmlns:a16="http://schemas.microsoft.com/office/drawing/2014/main" id="{ABFFE747-2D31-4597-86F8-C848DFC43841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481594" y="3311624"/>
            <a:ext cx="1849437" cy="19637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8F9F9AF-F53E-4695-86E3-3D14CD51E46B}"/>
              </a:ext>
            </a:extLst>
          </p:cNvPr>
          <p:cNvSpPr txBox="1"/>
          <p:nvPr/>
        </p:nvSpPr>
        <p:spPr>
          <a:xfrm>
            <a:off x="8521858" y="1602697"/>
            <a:ext cx="143493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63" name="Text Placeholder 40">
            <a:extLst>
              <a:ext uri="{FF2B5EF4-FFF2-40B4-BE49-F238E27FC236}">
                <a16:creationId xmlns:a16="http://schemas.microsoft.com/office/drawing/2014/main" id="{F0163F51-C842-4EA2-845A-57B1D368A2A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825815" y="1716487"/>
            <a:ext cx="1849115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3">
            <a:extLst>
              <a:ext uri="{FF2B5EF4-FFF2-40B4-BE49-F238E27FC236}">
                <a16:creationId xmlns:a16="http://schemas.microsoft.com/office/drawing/2014/main" id="{F7CBC23A-22DB-41DC-A396-7D99C3C6F64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36674" y="2435707"/>
            <a:ext cx="1827395" cy="70037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sp>
        <p:nvSpPr>
          <p:cNvPr id="65" name="Picture Placeholder 51">
            <a:extLst>
              <a:ext uri="{FF2B5EF4-FFF2-40B4-BE49-F238E27FC236}">
                <a16:creationId xmlns:a16="http://schemas.microsoft.com/office/drawing/2014/main" id="{36341794-C35E-467B-8217-9696D269946A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8825815" y="3284583"/>
            <a:ext cx="1849437" cy="1963743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1E37222-4531-4CA6-B1BA-9C96365DE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6352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Blocks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A338DDE-A12C-4757-BD16-FFCD36D2F594}"/>
              </a:ext>
            </a:extLst>
          </p:cNvPr>
          <p:cNvSpPr/>
          <p:nvPr/>
        </p:nvSpPr>
        <p:spPr>
          <a:xfrm>
            <a:off x="863600" y="1256977"/>
            <a:ext cx="2578100" cy="46343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65BCCB-E892-4991-A58A-09526F895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0811678C-2DE5-4EA3-9902-E45F7E7392A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8813E4-1875-485D-A5BC-CD4D6C9B72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85078E0-499A-4CB5-BEFF-335E6AB5E67C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0AC871C-2D41-4C33-B332-EF550D6E1E92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AC7BBD0-5320-4C26-B297-0135F46A5ED8}"/>
              </a:ext>
            </a:extLst>
          </p:cNvPr>
          <p:cNvSpPr txBox="1"/>
          <p:nvPr/>
        </p:nvSpPr>
        <p:spPr>
          <a:xfrm>
            <a:off x="985682" y="1320800"/>
            <a:ext cx="67801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01</a:t>
            </a:r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8D52AE5B-6FB0-4974-B6BB-2F17AA1021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57428" y="1970609"/>
            <a:ext cx="2151219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A1823997-52C0-4A08-81EB-BB233455B7A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7428" y="2835582"/>
            <a:ext cx="2151219" cy="265080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BF1D198-ECB8-4732-A9C9-8C2A9F1DE314}"/>
              </a:ext>
            </a:extLst>
          </p:cNvPr>
          <p:cNvCxnSpPr>
            <a:cxnSpLocks/>
          </p:cNvCxnSpPr>
          <p:nvPr/>
        </p:nvCxnSpPr>
        <p:spPr>
          <a:xfrm>
            <a:off x="968347" y="2735487"/>
            <a:ext cx="2320953" cy="0"/>
          </a:xfrm>
          <a:prstGeom prst="line">
            <a:avLst/>
          </a:prstGeom>
          <a:ln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E050D30A-F64A-4C72-8C20-82584FAF4808}"/>
              </a:ext>
            </a:extLst>
          </p:cNvPr>
          <p:cNvSpPr/>
          <p:nvPr/>
        </p:nvSpPr>
        <p:spPr>
          <a:xfrm>
            <a:off x="3656010" y="1253000"/>
            <a:ext cx="2578100" cy="46343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E50D50A-7CE3-44AA-8C8F-D8013CA3A419}"/>
              </a:ext>
            </a:extLst>
          </p:cNvPr>
          <p:cNvSpPr txBox="1"/>
          <p:nvPr/>
        </p:nvSpPr>
        <p:spPr>
          <a:xfrm>
            <a:off x="3778092" y="1316823"/>
            <a:ext cx="67801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02</a:t>
            </a:r>
          </a:p>
        </p:txBody>
      </p:sp>
      <p:sp>
        <p:nvSpPr>
          <p:cNvPr id="37" name="Text Placeholder 40">
            <a:extLst>
              <a:ext uri="{FF2B5EF4-FFF2-40B4-BE49-F238E27FC236}">
                <a16:creationId xmlns:a16="http://schemas.microsoft.com/office/drawing/2014/main" id="{3BB3861C-F6ED-4E74-A5C4-A82D6D3566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849838" y="1966632"/>
            <a:ext cx="2151219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18FDFC30-5F43-4C12-9D02-DA682A436E9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849838" y="2831605"/>
            <a:ext cx="2151219" cy="265080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A90A7DD-B7CA-4C7A-BD46-E83E7C401CEB}"/>
              </a:ext>
            </a:extLst>
          </p:cNvPr>
          <p:cNvCxnSpPr>
            <a:cxnSpLocks/>
          </p:cNvCxnSpPr>
          <p:nvPr/>
        </p:nvCxnSpPr>
        <p:spPr>
          <a:xfrm>
            <a:off x="3760757" y="2731510"/>
            <a:ext cx="2320953" cy="0"/>
          </a:xfrm>
          <a:prstGeom prst="line">
            <a:avLst/>
          </a:prstGeom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7786D190-905B-465E-ABB0-AA8C9DF76560}"/>
              </a:ext>
            </a:extLst>
          </p:cNvPr>
          <p:cNvSpPr/>
          <p:nvPr/>
        </p:nvSpPr>
        <p:spPr>
          <a:xfrm>
            <a:off x="6589710" y="1253000"/>
            <a:ext cx="2578100" cy="46343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24F04F1-6DFF-450D-9083-77476497F0CF}"/>
              </a:ext>
            </a:extLst>
          </p:cNvPr>
          <p:cNvSpPr txBox="1"/>
          <p:nvPr/>
        </p:nvSpPr>
        <p:spPr>
          <a:xfrm>
            <a:off x="6711792" y="1316823"/>
            <a:ext cx="67801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03</a:t>
            </a:r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F1ED95BE-0A78-45AF-8881-D377E0A3F89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83538" y="1966632"/>
            <a:ext cx="2151219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2A138FE6-4E85-45B5-A548-67EED12572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83538" y="2831605"/>
            <a:ext cx="2151219" cy="265080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87CE1A3-4BC6-48F2-8408-487060F4EA1B}"/>
              </a:ext>
            </a:extLst>
          </p:cNvPr>
          <p:cNvCxnSpPr>
            <a:cxnSpLocks/>
          </p:cNvCxnSpPr>
          <p:nvPr/>
        </p:nvCxnSpPr>
        <p:spPr>
          <a:xfrm>
            <a:off x="6694457" y="2731510"/>
            <a:ext cx="2320953" cy="0"/>
          </a:xfrm>
          <a:prstGeom prst="line">
            <a:avLst/>
          </a:prstGeom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03A3EBC3-41FA-4E04-BCF9-AF845365A6A7}"/>
              </a:ext>
            </a:extLst>
          </p:cNvPr>
          <p:cNvSpPr/>
          <p:nvPr/>
        </p:nvSpPr>
        <p:spPr>
          <a:xfrm>
            <a:off x="9361638" y="1253000"/>
            <a:ext cx="2578100" cy="46343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EE3D8D8-A527-468C-A068-5663A2A0E3DA}"/>
              </a:ext>
            </a:extLst>
          </p:cNvPr>
          <p:cNvSpPr txBox="1"/>
          <p:nvPr/>
        </p:nvSpPr>
        <p:spPr>
          <a:xfrm>
            <a:off x="9483720" y="1316823"/>
            <a:ext cx="67801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accent1"/>
                </a:solidFill>
                <a:latin typeface="+mj-lt"/>
              </a:rPr>
              <a:t>04</a:t>
            </a:r>
          </a:p>
        </p:txBody>
      </p:sp>
      <p:sp>
        <p:nvSpPr>
          <p:cNvPr id="47" name="Text Placeholder 40">
            <a:extLst>
              <a:ext uri="{FF2B5EF4-FFF2-40B4-BE49-F238E27FC236}">
                <a16:creationId xmlns:a16="http://schemas.microsoft.com/office/drawing/2014/main" id="{5293169B-D10C-47B0-B01D-BF7C86733F8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55466" y="1966632"/>
            <a:ext cx="2151219" cy="663278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56B0C580-CFDE-4362-9BB1-4A08443454B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555466" y="2831605"/>
            <a:ext cx="2151219" cy="2650807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Supporting Text Goes Here…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6AE9FBD8-5415-4942-8521-0ADFB45FD133}"/>
              </a:ext>
            </a:extLst>
          </p:cNvPr>
          <p:cNvCxnSpPr>
            <a:cxnSpLocks/>
          </p:cNvCxnSpPr>
          <p:nvPr/>
        </p:nvCxnSpPr>
        <p:spPr>
          <a:xfrm>
            <a:off x="9466385" y="2731510"/>
            <a:ext cx="2320953" cy="0"/>
          </a:xfrm>
          <a:prstGeom prst="line">
            <a:avLst/>
          </a:prstGeom>
          <a:ln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1">
            <a:extLst>
              <a:ext uri="{FF2B5EF4-FFF2-40B4-BE49-F238E27FC236}">
                <a16:creationId xmlns:a16="http://schemas.microsoft.com/office/drawing/2014/main" id="{28A1BCFF-E2D8-4F35-AE39-C67E10108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64851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 Blocks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12">
            <a:extLst>
              <a:ext uri="{FF2B5EF4-FFF2-40B4-BE49-F238E27FC236}">
                <a16:creationId xmlns:a16="http://schemas.microsoft.com/office/drawing/2014/main" id="{909D2090-1F51-4EF4-9DD2-BB0B49C4CDB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605801" y="1250936"/>
            <a:ext cx="2622551" cy="328568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7" name="Picture Placeholder 12">
            <a:extLst>
              <a:ext uri="{FF2B5EF4-FFF2-40B4-BE49-F238E27FC236}">
                <a16:creationId xmlns:a16="http://schemas.microsoft.com/office/drawing/2014/main" id="{13B0534D-FEB0-4958-B3EB-0EF1476CABFE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9217201" y="1257899"/>
            <a:ext cx="2622551" cy="327776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6" name="Picture Placeholder 12">
            <a:extLst>
              <a:ext uri="{FF2B5EF4-FFF2-40B4-BE49-F238E27FC236}">
                <a16:creationId xmlns:a16="http://schemas.microsoft.com/office/drawing/2014/main" id="{00CFAD0F-C0F7-4DB5-848D-62C6DCEA12E8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411500" y="1257899"/>
            <a:ext cx="2622551" cy="327776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E15889A-2D10-475B-B90F-A3BA552E8FC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00101" y="1252538"/>
            <a:ext cx="2622551" cy="328568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65BCCB-E892-4991-A58A-09526F895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9" y="6176962"/>
            <a:ext cx="522185" cy="681039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0811678C-2DE5-4EA3-9902-E45F7E7392A2}"/>
              </a:ext>
            </a:extLst>
          </p:cNvPr>
          <p:cNvSpPr/>
          <p:nvPr/>
        </p:nvSpPr>
        <p:spPr>
          <a:xfrm rot="5400000">
            <a:off x="23147" y="-23147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8813E4-1875-485D-A5BC-CD4D6C9B72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85078E0-499A-4CB5-BEFF-335E6AB5E67C}"/>
              </a:ext>
            </a:extLst>
          </p:cNvPr>
          <p:cNvCxnSpPr>
            <a:cxnSpLocks/>
          </p:cNvCxnSpPr>
          <p:nvPr/>
        </p:nvCxnSpPr>
        <p:spPr>
          <a:xfrm flipV="1">
            <a:off x="11192013" y="6055751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0AC871C-2D41-4C33-B332-EF550D6E1E92}"/>
              </a:ext>
            </a:extLst>
          </p:cNvPr>
          <p:cNvSpPr/>
          <p:nvPr/>
        </p:nvSpPr>
        <p:spPr>
          <a:xfrm>
            <a:off x="446517" y="6290461"/>
            <a:ext cx="1038384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AC7BBD0-5320-4C26-B297-0135F46A5ED8}"/>
              </a:ext>
            </a:extLst>
          </p:cNvPr>
          <p:cNvSpPr txBox="1"/>
          <p:nvPr/>
        </p:nvSpPr>
        <p:spPr>
          <a:xfrm>
            <a:off x="909481" y="3862533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1</a:t>
            </a:r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8D52AE5B-6FB0-4974-B6BB-2F17AA1021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102" y="4712069"/>
            <a:ext cx="2622551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E50D50A-7CE3-44AA-8C8F-D8013CA3A419}"/>
              </a:ext>
            </a:extLst>
          </p:cNvPr>
          <p:cNvSpPr txBox="1"/>
          <p:nvPr/>
        </p:nvSpPr>
        <p:spPr>
          <a:xfrm>
            <a:off x="3701892" y="3858557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2</a:t>
            </a:r>
          </a:p>
        </p:txBody>
      </p:sp>
      <p:sp>
        <p:nvSpPr>
          <p:cNvPr id="37" name="Text Placeholder 40">
            <a:extLst>
              <a:ext uri="{FF2B5EF4-FFF2-40B4-BE49-F238E27FC236}">
                <a16:creationId xmlns:a16="http://schemas.microsoft.com/office/drawing/2014/main" id="{3BB3861C-F6ED-4E74-A5C4-A82D6D3566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5803" y="4712069"/>
            <a:ext cx="2622549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24F04F1-6DFF-450D-9083-77476497F0CF}"/>
              </a:ext>
            </a:extLst>
          </p:cNvPr>
          <p:cNvSpPr txBox="1"/>
          <p:nvPr/>
        </p:nvSpPr>
        <p:spPr>
          <a:xfrm>
            <a:off x="6635592" y="3858557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3</a:t>
            </a:r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F1ED95BE-0A78-45AF-8881-D377E0A3F89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411501" y="4712069"/>
            <a:ext cx="2622549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EE3D8D8-A527-468C-A068-5663A2A0E3DA}"/>
              </a:ext>
            </a:extLst>
          </p:cNvPr>
          <p:cNvSpPr txBox="1"/>
          <p:nvPr/>
        </p:nvSpPr>
        <p:spPr>
          <a:xfrm>
            <a:off x="9407520" y="3858557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4</a:t>
            </a:r>
          </a:p>
        </p:txBody>
      </p:sp>
      <p:sp>
        <p:nvSpPr>
          <p:cNvPr id="47" name="Text Placeholder 40">
            <a:extLst>
              <a:ext uri="{FF2B5EF4-FFF2-40B4-BE49-F238E27FC236}">
                <a16:creationId xmlns:a16="http://schemas.microsoft.com/office/drawing/2014/main" id="{5293169B-D10C-47B0-B01D-BF7C86733F8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17200" y="4712069"/>
            <a:ext cx="2622549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1D9AA77-A493-46F7-B563-2CE35554E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40444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Open No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D38043C-A2E2-4CDE-8167-58382B6909D4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8931ADC0-3530-4243-B18B-2158E4145ED5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B7B08450-F94E-45AE-8E3C-E4C2ABA9D47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EAA19611-4221-4A1F-9404-D19C02D6792C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0F8722F-1BBD-4EFC-8F05-9B22DE7553B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1946" y="162478"/>
            <a:ext cx="1636284" cy="401464"/>
          </a:xfrm>
          <a:prstGeom prst="rect">
            <a:avLst/>
          </a:prstGeom>
        </p:spPr>
      </p:pic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2A446EF7-A02C-4D37-BE92-00DD198DE702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3FEA4525-BEA1-4C66-8649-76EED3ED34B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10EC005-FA55-4258-A9F6-F1370307B37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09686" y="2678906"/>
            <a:ext cx="10363200" cy="15001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Slide Text Only</a:t>
            </a:r>
          </a:p>
        </p:txBody>
      </p:sp>
    </p:spTree>
    <p:extLst>
      <p:ext uri="{BB962C8B-B14F-4D97-AF65-F5344CB8AC3E}">
        <p14:creationId xmlns:p14="http://schemas.microsoft.com/office/powerpoint/2010/main" val="35622248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ocks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E15889A-2D10-475B-B90F-A3BA552E8FCB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00101" y="1252538"/>
            <a:ext cx="2049425" cy="328568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65BCCB-E892-4991-A58A-09526F895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9" y="6176962"/>
            <a:ext cx="522185" cy="681039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0811678C-2DE5-4EA3-9902-E45F7E7392A2}"/>
              </a:ext>
            </a:extLst>
          </p:cNvPr>
          <p:cNvSpPr/>
          <p:nvPr/>
        </p:nvSpPr>
        <p:spPr>
          <a:xfrm rot="5400000">
            <a:off x="23147" y="-23147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8813E4-1875-485D-A5BC-CD4D6C9B72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85078E0-499A-4CB5-BEFF-335E6AB5E67C}"/>
              </a:ext>
            </a:extLst>
          </p:cNvPr>
          <p:cNvCxnSpPr>
            <a:cxnSpLocks/>
          </p:cNvCxnSpPr>
          <p:nvPr/>
        </p:nvCxnSpPr>
        <p:spPr>
          <a:xfrm flipV="1">
            <a:off x="11192013" y="6055751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20AC871C-2D41-4C33-B332-EF550D6E1E92}"/>
              </a:ext>
            </a:extLst>
          </p:cNvPr>
          <p:cNvSpPr/>
          <p:nvPr/>
        </p:nvSpPr>
        <p:spPr>
          <a:xfrm>
            <a:off x="446517" y="6290461"/>
            <a:ext cx="1038384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AC7BBD0-5320-4C26-B297-0135F46A5ED8}"/>
              </a:ext>
            </a:extLst>
          </p:cNvPr>
          <p:cNvSpPr txBox="1"/>
          <p:nvPr/>
        </p:nvSpPr>
        <p:spPr>
          <a:xfrm>
            <a:off x="909481" y="3862533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1</a:t>
            </a:r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8D52AE5B-6FB0-4974-B6BB-2F17AA1021B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103" y="4712069"/>
            <a:ext cx="2049424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1D9AA77-A493-46F7-B563-2CE35554E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id="{24C6B914-F2D4-4C44-BADD-DDB76EFBF001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3068380" y="1252538"/>
            <a:ext cx="2049425" cy="328568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14DFEA7-5F1C-42DC-B9FF-15BDED06B436}"/>
              </a:ext>
            </a:extLst>
          </p:cNvPr>
          <p:cNvSpPr txBox="1"/>
          <p:nvPr userDrawn="1"/>
        </p:nvSpPr>
        <p:spPr>
          <a:xfrm>
            <a:off x="3177760" y="3862533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2</a:t>
            </a:r>
          </a:p>
        </p:txBody>
      </p:sp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91F5B89A-9A47-4DD4-B91A-6D0858A4FA9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068382" y="4712069"/>
            <a:ext cx="2049424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586ECA2B-2ABE-4BAD-86DE-81582B0F6E3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5336659" y="1238847"/>
            <a:ext cx="2049425" cy="328568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15AC625-7B9C-4070-9A54-2D41B9C03F5A}"/>
              </a:ext>
            </a:extLst>
          </p:cNvPr>
          <p:cNvSpPr txBox="1"/>
          <p:nvPr userDrawn="1"/>
        </p:nvSpPr>
        <p:spPr>
          <a:xfrm>
            <a:off x="5446039" y="3848842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3</a:t>
            </a:r>
          </a:p>
        </p:txBody>
      </p:sp>
      <p:sp>
        <p:nvSpPr>
          <p:cNvPr id="26" name="Text Placeholder 40">
            <a:extLst>
              <a:ext uri="{FF2B5EF4-FFF2-40B4-BE49-F238E27FC236}">
                <a16:creationId xmlns:a16="http://schemas.microsoft.com/office/drawing/2014/main" id="{0912E5C9-949F-4DDE-BE6F-454A1F973F9D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336661" y="4698378"/>
            <a:ext cx="2049424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1F4CA007-7981-4096-B486-1E8C5D98E28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7604938" y="1238847"/>
            <a:ext cx="2049425" cy="328568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57AF7DC-62BC-4C38-B8EF-1B216AF1F787}"/>
              </a:ext>
            </a:extLst>
          </p:cNvPr>
          <p:cNvSpPr txBox="1"/>
          <p:nvPr userDrawn="1"/>
        </p:nvSpPr>
        <p:spPr>
          <a:xfrm>
            <a:off x="7714318" y="3848842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4</a:t>
            </a:r>
          </a:p>
        </p:txBody>
      </p:sp>
      <p:sp>
        <p:nvSpPr>
          <p:cNvPr id="30" name="Text Placeholder 40">
            <a:extLst>
              <a:ext uri="{FF2B5EF4-FFF2-40B4-BE49-F238E27FC236}">
                <a16:creationId xmlns:a16="http://schemas.microsoft.com/office/drawing/2014/main" id="{2D5871E5-7B78-44A2-8485-C8134B12556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604940" y="4698378"/>
            <a:ext cx="2049424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1DFCCF41-F5CC-4E0F-90D3-8CE1502235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9836990" y="1242058"/>
            <a:ext cx="2049425" cy="3285685"/>
          </a:xfr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B4946FE-6DD3-4D76-A843-65DE9AED9EC9}"/>
              </a:ext>
            </a:extLst>
          </p:cNvPr>
          <p:cNvSpPr txBox="1"/>
          <p:nvPr userDrawn="1"/>
        </p:nvSpPr>
        <p:spPr>
          <a:xfrm>
            <a:off x="9946370" y="3852053"/>
            <a:ext cx="67801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400" b="1" dirty="0">
                <a:solidFill>
                  <a:schemeClr val="tx1"/>
                </a:solidFill>
                <a:latin typeface="+mj-lt"/>
              </a:rPr>
              <a:t>05</a:t>
            </a:r>
          </a:p>
        </p:txBody>
      </p:sp>
      <p:sp>
        <p:nvSpPr>
          <p:cNvPr id="33" name="Text Placeholder 40">
            <a:extLst>
              <a:ext uri="{FF2B5EF4-FFF2-40B4-BE49-F238E27FC236}">
                <a16:creationId xmlns:a16="http://schemas.microsoft.com/office/drawing/2014/main" id="{FE80C91F-0C10-490F-A08E-07C2087DF2A3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836992" y="4701589"/>
            <a:ext cx="2049424" cy="1129932"/>
          </a:xfrm>
        </p:spPr>
        <p:txBody>
          <a:bodyPr>
            <a:noAutofit/>
          </a:bodyPr>
          <a:lstStyle>
            <a:lvl1pPr marL="182880" indent="-18288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13" indent="-182875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0985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- Quart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nip Diagonal Corner Rectangle 24">
            <a:extLst>
              <a:ext uri="{FF2B5EF4-FFF2-40B4-BE49-F238E27FC236}">
                <a16:creationId xmlns:a16="http://schemas.microsoft.com/office/drawing/2014/main" id="{932B796A-48F6-46A5-8DF6-79C4C75E9266}"/>
              </a:ext>
            </a:extLst>
          </p:cNvPr>
          <p:cNvSpPr/>
          <p:nvPr/>
        </p:nvSpPr>
        <p:spPr>
          <a:xfrm>
            <a:off x="1174177" y="1577378"/>
            <a:ext cx="2281709" cy="3989579"/>
          </a:xfrm>
          <a:prstGeom prst="snip2Diag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0" dirty="0"/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DDC277D5-2949-4342-ADA0-3B054B103B5F}"/>
              </a:ext>
            </a:extLst>
          </p:cNvPr>
          <p:cNvSpPr/>
          <p:nvPr/>
        </p:nvSpPr>
        <p:spPr>
          <a:xfrm>
            <a:off x="1174177" y="4724616"/>
            <a:ext cx="2051880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5F64-B885-46E2-8037-5A92315DF5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2847" y="1701143"/>
            <a:ext cx="2243039" cy="432242"/>
          </a:xfrm>
        </p:spPr>
        <p:txBody>
          <a:bodyPr>
            <a:noAutofit/>
          </a:bodyPr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⁄"/>
              <a:defRPr sz="16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30" name="Snip Diagonal Corner Rectangle 24">
            <a:extLst>
              <a:ext uri="{FF2B5EF4-FFF2-40B4-BE49-F238E27FC236}">
                <a16:creationId xmlns:a16="http://schemas.microsoft.com/office/drawing/2014/main" id="{1C57648D-B2E7-4821-AACD-414EAA8136D1}"/>
              </a:ext>
            </a:extLst>
          </p:cNvPr>
          <p:cNvSpPr/>
          <p:nvPr/>
        </p:nvSpPr>
        <p:spPr>
          <a:xfrm>
            <a:off x="3814291" y="1577378"/>
            <a:ext cx="2281709" cy="3989579"/>
          </a:xfrm>
          <a:prstGeom prst="snip2Diag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0" dirty="0"/>
          </a:p>
        </p:txBody>
      </p: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7BA4E34F-26FF-4EEC-85AC-F39883F52B17}"/>
              </a:ext>
            </a:extLst>
          </p:cNvPr>
          <p:cNvSpPr/>
          <p:nvPr/>
        </p:nvSpPr>
        <p:spPr>
          <a:xfrm>
            <a:off x="3814291" y="4724616"/>
            <a:ext cx="2051880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DA0983BF-9315-4244-9B62-8D4D576EE4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2961" y="1701143"/>
            <a:ext cx="2243039" cy="432242"/>
          </a:xfrm>
        </p:spPr>
        <p:txBody>
          <a:bodyPr>
            <a:noAutofit/>
          </a:bodyPr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⁄"/>
              <a:defRPr sz="16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buClr>
                <a:schemeClr val="tx1"/>
              </a:buClr>
              <a:buFont typeface="Arial" panose="020B0604020202020204" pitchFamily="34" charset="0"/>
              <a:buChar char="⁄"/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34" name="Snip Diagonal Corner Rectangle 24">
            <a:extLst>
              <a:ext uri="{FF2B5EF4-FFF2-40B4-BE49-F238E27FC236}">
                <a16:creationId xmlns:a16="http://schemas.microsoft.com/office/drawing/2014/main" id="{C93935C2-F38D-4D7F-AB45-90BF4065BF4C}"/>
              </a:ext>
            </a:extLst>
          </p:cNvPr>
          <p:cNvSpPr/>
          <p:nvPr/>
        </p:nvSpPr>
        <p:spPr>
          <a:xfrm>
            <a:off x="6454405" y="1577378"/>
            <a:ext cx="2281709" cy="3989579"/>
          </a:xfrm>
          <a:prstGeom prst="snip2DiagRect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0" dirty="0"/>
          </a:p>
        </p:txBody>
      </p:sp>
      <p:sp>
        <p:nvSpPr>
          <p:cNvPr id="35" name="Right Triangle 34">
            <a:extLst>
              <a:ext uri="{FF2B5EF4-FFF2-40B4-BE49-F238E27FC236}">
                <a16:creationId xmlns:a16="http://schemas.microsoft.com/office/drawing/2014/main" id="{F23B8788-4B48-4B0A-8D9E-D9402EE43CC1}"/>
              </a:ext>
            </a:extLst>
          </p:cNvPr>
          <p:cNvSpPr/>
          <p:nvPr/>
        </p:nvSpPr>
        <p:spPr>
          <a:xfrm>
            <a:off x="6454405" y="4724616"/>
            <a:ext cx="2051880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36" name="Text Placeholder 40">
            <a:extLst>
              <a:ext uri="{FF2B5EF4-FFF2-40B4-BE49-F238E27FC236}">
                <a16:creationId xmlns:a16="http://schemas.microsoft.com/office/drawing/2014/main" id="{4BD8B0B5-2529-45F8-BB59-7AD235CBBF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93075" y="1701143"/>
            <a:ext cx="2243039" cy="432242"/>
          </a:xfrm>
        </p:spPr>
        <p:txBody>
          <a:bodyPr>
            <a:noAutofit/>
          </a:bodyPr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⁄"/>
              <a:defRPr sz="16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buClr>
                <a:schemeClr val="tx1"/>
              </a:buClr>
              <a:buFont typeface="Arial" panose="020B0604020202020204" pitchFamily="34" charset="0"/>
              <a:buChar char="⁄"/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42" name="Snip Diagonal Corner Rectangle 24">
            <a:extLst>
              <a:ext uri="{FF2B5EF4-FFF2-40B4-BE49-F238E27FC236}">
                <a16:creationId xmlns:a16="http://schemas.microsoft.com/office/drawing/2014/main" id="{D79DE159-F07B-4B84-A98B-721F69EA7BA7}"/>
              </a:ext>
            </a:extLst>
          </p:cNvPr>
          <p:cNvSpPr/>
          <p:nvPr/>
        </p:nvSpPr>
        <p:spPr>
          <a:xfrm>
            <a:off x="9078256" y="1577378"/>
            <a:ext cx="2281709" cy="3989579"/>
          </a:xfrm>
          <a:prstGeom prst="snip2Diag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0" dirty="0"/>
          </a:p>
        </p:txBody>
      </p:sp>
      <p:sp>
        <p:nvSpPr>
          <p:cNvPr id="43" name="Right Triangle 42">
            <a:extLst>
              <a:ext uri="{FF2B5EF4-FFF2-40B4-BE49-F238E27FC236}">
                <a16:creationId xmlns:a16="http://schemas.microsoft.com/office/drawing/2014/main" id="{E5980A82-AED9-4702-BF59-D232D94AD1F2}"/>
              </a:ext>
            </a:extLst>
          </p:cNvPr>
          <p:cNvSpPr/>
          <p:nvPr/>
        </p:nvSpPr>
        <p:spPr>
          <a:xfrm>
            <a:off x="9078256" y="4724616"/>
            <a:ext cx="2051880" cy="842341"/>
          </a:xfrm>
          <a:prstGeom prst="rtTriangle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44" name="Text Placeholder 40">
            <a:extLst>
              <a:ext uri="{FF2B5EF4-FFF2-40B4-BE49-F238E27FC236}">
                <a16:creationId xmlns:a16="http://schemas.microsoft.com/office/drawing/2014/main" id="{B8761820-6E7A-43B5-96C4-6603BE7FB76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16926" y="1701143"/>
            <a:ext cx="2243039" cy="432242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accent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435E4109-CE49-4C8C-B2F4-CED4E5AFF8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89090" y="2377843"/>
            <a:ext cx="2051881" cy="2346773"/>
          </a:xfrm>
        </p:spPr>
        <p:txBody>
          <a:bodyPr>
            <a:normAutofit/>
          </a:bodyPr>
          <a:lstStyle>
            <a:lvl1pPr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lvl="0"/>
            <a:r>
              <a:rPr lang="en-US" dirty="0"/>
              <a:t>Bullet Point- 3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14A71C63-B694-4875-AD67-5F0050E199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29204" y="2374206"/>
            <a:ext cx="2051881" cy="2346773"/>
          </a:xfrm>
        </p:spPr>
        <p:txBody>
          <a:bodyPr>
            <a:normAutofit/>
          </a:bodyPr>
          <a:lstStyle>
            <a:lvl1pPr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lvl="0"/>
            <a:r>
              <a:rPr lang="en-US" dirty="0"/>
              <a:t>Bullet Point- 3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A491E611-498A-4A4A-8A40-0142448CCD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69318" y="2374206"/>
            <a:ext cx="2051881" cy="2346773"/>
          </a:xfrm>
        </p:spPr>
        <p:txBody>
          <a:bodyPr>
            <a:normAutofit/>
          </a:bodyPr>
          <a:lstStyle>
            <a:lvl1pPr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lvl="0"/>
            <a:r>
              <a:rPr lang="en-US" dirty="0"/>
              <a:t>Bullet Point- 3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DF2C70A6-00DA-44EC-80BC-DD7D868228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93169" y="2374206"/>
            <a:ext cx="2051881" cy="2346773"/>
          </a:xfrm>
        </p:spPr>
        <p:txBody>
          <a:bodyPr>
            <a:normAutofit/>
          </a:bodyPr>
          <a:lstStyle>
            <a:lvl1pPr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defRPr sz="14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lvl="0"/>
            <a:r>
              <a:rPr lang="en-US" dirty="0"/>
              <a:t>Bullet Point- 3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B0763B0-48F4-4ED7-A0D4-91BDF44B836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913" y="6317747"/>
            <a:ext cx="1636288" cy="401464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96DD2E10-3EAD-444B-BD34-35B09AACEE1A}"/>
              </a:ext>
            </a:extLst>
          </p:cNvPr>
          <p:cNvSpPr/>
          <p:nvPr/>
        </p:nvSpPr>
        <p:spPr>
          <a:xfrm>
            <a:off x="598916" y="64428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569CFCED-6E63-4147-8161-E184F738EF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37501" y="5010711"/>
            <a:ext cx="654799" cy="437410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Q1</a:t>
            </a:r>
          </a:p>
        </p:txBody>
      </p:sp>
      <p:sp>
        <p:nvSpPr>
          <p:cNvPr id="45" name="Text Placeholder 40">
            <a:extLst>
              <a:ext uri="{FF2B5EF4-FFF2-40B4-BE49-F238E27FC236}">
                <a16:creationId xmlns:a16="http://schemas.microsoft.com/office/drawing/2014/main" id="{01069D76-3A7E-43A5-ADEC-B3A91AB51C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52961" y="5010711"/>
            <a:ext cx="654799" cy="437410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Q2</a:t>
            </a:r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9FDE8D20-7455-40F3-B25D-79072216D5D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93075" y="5022515"/>
            <a:ext cx="654799" cy="437410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Q3</a:t>
            </a:r>
          </a:p>
        </p:txBody>
      </p:sp>
      <p:sp>
        <p:nvSpPr>
          <p:cNvPr id="50" name="Text Placeholder 40">
            <a:extLst>
              <a:ext uri="{FF2B5EF4-FFF2-40B4-BE49-F238E27FC236}">
                <a16:creationId xmlns:a16="http://schemas.microsoft.com/office/drawing/2014/main" id="{D612F9BD-8152-46BC-96E8-D68345650F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16926" y="5022515"/>
            <a:ext cx="654799" cy="437410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Q4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34BDE561-66AE-4A5A-8BBF-1226647F78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57796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- Mont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32805F47-E694-4927-81B9-C29CA3EEAB0B}"/>
              </a:ext>
            </a:extLst>
          </p:cNvPr>
          <p:cNvSpPr/>
          <p:nvPr/>
        </p:nvSpPr>
        <p:spPr>
          <a:xfrm>
            <a:off x="584680" y="1290678"/>
            <a:ext cx="1805357" cy="4424259"/>
          </a:xfrm>
          <a:custGeom>
            <a:avLst/>
            <a:gdLst>
              <a:gd name="connsiteX0" fmla="*/ 0 w 1805357"/>
              <a:gd name="connsiteY0" fmla="*/ 0 h 4424259"/>
              <a:gd name="connsiteX1" fmla="*/ 1371779 w 1805357"/>
              <a:gd name="connsiteY1" fmla="*/ 0 h 4424259"/>
              <a:gd name="connsiteX2" fmla="*/ 1646141 w 1805357"/>
              <a:gd name="connsiteY2" fmla="*/ 274362 h 4424259"/>
              <a:gd name="connsiteX3" fmla="*/ 1646141 w 1805357"/>
              <a:gd name="connsiteY3" fmla="*/ 1820773 h 4424259"/>
              <a:gd name="connsiteX4" fmla="*/ 1805357 w 1805357"/>
              <a:gd name="connsiteY4" fmla="*/ 2045408 h 4424259"/>
              <a:gd name="connsiteX5" fmla="*/ 1646141 w 1805357"/>
              <a:gd name="connsiteY5" fmla="*/ 2270043 h 4424259"/>
              <a:gd name="connsiteX6" fmla="*/ 1646141 w 1805357"/>
              <a:gd name="connsiteY6" fmla="*/ 4424259 h 4424259"/>
              <a:gd name="connsiteX7" fmla="*/ 274362 w 1805357"/>
              <a:gd name="connsiteY7" fmla="*/ 4424259 h 4424259"/>
              <a:gd name="connsiteX8" fmla="*/ 0 w 1805357"/>
              <a:gd name="connsiteY8" fmla="*/ 4149897 h 442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5357" h="4424259">
                <a:moveTo>
                  <a:pt x="0" y="0"/>
                </a:moveTo>
                <a:lnTo>
                  <a:pt x="1371779" y="0"/>
                </a:lnTo>
                <a:lnTo>
                  <a:pt x="1646141" y="274362"/>
                </a:lnTo>
                <a:lnTo>
                  <a:pt x="1646141" y="1820773"/>
                </a:lnTo>
                <a:lnTo>
                  <a:pt x="1805357" y="2045408"/>
                </a:lnTo>
                <a:lnTo>
                  <a:pt x="1646141" y="2270043"/>
                </a:lnTo>
                <a:lnTo>
                  <a:pt x="1646141" y="4424259"/>
                </a:lnTo>
                <a:lnTo>
                  <a:pt x="274362" y="4424259"/>
                </a:lnTo>
                <a:lnTo>
                  <a:pt x="0" y="414989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00" dirty="0"/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DDC277D5-2949-4342-ADA0-3B054B103B5F}"/>
              </a:ext>
            </a:extLst>
          </p:cNvPr>
          <p:cNvSpPr/>
          <p:nvPr/>
        </p:nvSpPr>
        <p:spPr>
          <a:xfrm>
            <a:off x="584678" y="4879621"/>
            <a:ext cx="1671566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5F64-B885-46E2-8037-5A92315DF5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7684" y="1610623"/>
            <a:ext cx="1441952" cy="700369"/>
          </a:xfrm>
        </p:spPr>
        <p:txBody>
          <a:bodyPr>
            <a:noAutofit/>
          </a:bodyPr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⁄"/>
              <a:defRPr sz="1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A13DC6FE-B4D0-46BE-8F6F-664BF617EBF0}"/>
              </a:ext>
            </a:extLst>
          </p:cNvPr>
          <p:cNvSpPr/>
          <p:nvPr/>
        </p:nvSpPr>
        <p:spPr>
          <a:xfrm rot="5400000">
            <a:off x="1160405" y="2571967"/>
            <a:ext cx="4424259" cy="1805357"/>
          </a:xfrm>
          <a:custGeom>
            <a:avLst/>
            <a:gdLst>
              <a:gd name="connsiteX0" fmla="*/ 0 w 4424259"/>
              <a:gd name="connsiteY0" fmla="*/ 1805357 h 1805357"/>
              <a:gd name="connsiteX1" fmla="*/ 0 w 4424259"/>
              <a:gd name="connsiteY1" fmla="*/ 433578 h 1805357"/>
              <a:gd name="connsiteX2" fmla="*/ 274362 w 4424259"/>
              <a:gd name="connsiteY2" fmla="*/ 159216 h 1805357"/>
              <a:gd name="connsiteX3" fmla="*/ 1820774 w 4424259"/>
              <a:gd name="connsiteY3" fmla="*/ 159216 h 1805357"/>
              <a:gd name="connsiteX4" fmla="*/ 2045408 w 4424259"/>
              <a:gd name="connsiteY4" fmla="*/ 0 h 1805357"/>
              <a:gd name="connsiteX5" fmla="*/ 2270043 w 4424259"/>
              <a:gd name="connsiteY5" fmla="*/ 159216 h 1805357"/>
              <a:gd name="connsiteX6" fmla="*/ 4424259 w 4424259"/>
              <a:gd name="connsiteY6" fmla="*/ 159216 h 1805357"/>
              <a:gd name="connsiteX7" fmla="*/ 4424259 w 4424259"/>
              <a:gd name="connsiteY7" fmla="*/ 1530995 h 1805357"/>
              <a:gd name="connsiteX8" fmla="*/ 4149897 w 4424259"/>
              <a:gd name="connsiteY8" fmla="*/ 1805357 h 1805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24259" h="1805357">
                <a:moveTo>
                  <a:pt x="0" y="1805357"/>
                </a:moveTo>
                <a:lnTo>
                  <a:pt x="0" y="433578"/>
                </a:lnTo>
                <a:lnTo>
                  <a:pt x="274362" y="159216"/>
                </a:lnTo>
                <a:lnTo>
                  <a:pt x="1820774" y="159216"/>
                </a:lnTo>
                <a:lnTo>
                  <a:pt x="2045408" y="0"/>
                </a:lnTo>
                <a:lnTo>
                  <a:pt x="2270043" y="159216"/>
                </a:lnTo>
                <a:lnTo>
                  <a:pt x="4424259" y="159216"/>
                </a:lnTo>
                <a:lnTo>
                  <a:pt x="4424259" y="1530995"/>
                </a:lnTo>
                <a:lnTo>
                  <a:pt x="4149897" y="1805357"/>
                </a:lnTo>
                <a:close/>
              </a:path>
            </a:pathLst>
          </a:cu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9FCF2B1-B893-41B0-ACF7-697678CB6B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6426" y="2473490"/>
            <a:ext cx="1502120" cy="240613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r>
              <a:rPr lang="en-US" dirty="0"/>
              <a:t>Bullet Point - 5</a:t>
            </a:r>
          </a:p>
          <a:p>
            <a:pPr lvl="0"/>
            <a:endParaRPr lang="en-US" dirty="0"/>
          </a:p>
        </p:txBody>
      </p:sp>
      <p:sp>
        <p:nvSpPr>
          <p:cNvPr id="81" name="Right Triangle 80">
            <a:extLst>
              <a:ext uri="{FF2B5EF4-FFF2-40B4-BE49-F238E27FC236}">
                <a16:creationId xmlns:a16="http://schemas.microsoft.com/office/drawing/2014/main" id="{902E6721-42E9-4229-841E-A7C9C267A015}"/>
              </a:ext>
            </a:extLst>
          </p:cNvPr>
          <p:cNvSpPr/>
          <p:nvPr/>
        </p:nvSpPr>
        <p:spPr>
          <a:xfrm>
            <a:off x="2469854" y="4851459"/>
            <a:ext cx="1671566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82" name="Text Placeholder 40">
            <a:extLst>
              <a:ext uri="{FF2B5EF4-FFF2-40B4-BE49-F238E27FC236}">
                <a16:creationId xmlns:a16="http://schemas.microsoft.com/office/drawing/2014/main" id="{1DA6E81C-70A2-4E15-B369-546446100F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2860" y="1582461"/>
            <a:ext cx="1441952" cy="700369"/>
          </a:xfrm>
        </p:spPr>
        <p:txBody>
          <a:bodyPr>
            <a:noAutofit/>
          </a:bodyPr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⁄"/>
              <a:defRPr sz="1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85" name="Text Placeholder 3">
            <a:extLst>
              <a:ext uri="{FF2B5EF4-FFF2-40B4-BE49-F238E27FC236}">
                <a16:creationId xmlns:a16="http://schemas.microsoft.com/office/drawing/2014/main" id="{50F1B232-7FAF-4B13-803C-E6790B756D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1602" y="2445328"/>
            <a:ext cx="1502120" cy="240613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r>
              <a:rPr lang="en-US" dirty="0"/>
              <a:t>Bullet Point - 5</a:t>
            </a:r>
          </a:p>
          <a:p>
            <a:pPr lvl="0"/>
            <a:endParaRPr lang="en-US" dirty="0"/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A766C519-1E69-47F6-A871-CE6B51436B4C}"/>
              </a:ext>
            </a:extLst>
          </p:cNvPr>
          <p:cNvSpPr/>
          <p:nvPr/>
        </p:nvSpPr>
        <p:spPr>
          <a:xfrm>
            <a:off x="4316417" y="1278448"/>
            <a:ext cx="1805357" cy="4424259"/>
          </a:xfrm>
          <a:custGeom>
            <a:avLst/>
            <a:gdLst>
              <a:gd name="connsiteX0" fmla="*/ 0 w 1805357"/>
              <a:gd name="connsiteY0" fmla="*/ 0 h 4424259"/>
              <a:gd name="connsiteX1" fmla="*/ 1371779 w 1805357"/>
              <a:gd name="connsiteY1" fmla="*/ 0 h 4424259"/>
              <a:gd name="connsiteX2" fmla="*/ 1646141 w 1805357"/>
              <a:gd name="connsiteY2" fmla="*/ 274362 h 4424259"/>
              <a:gd name="connsiteX3" fmla="*/ 1646141 w 1805357"/>
              <a:gd name="connsiteY3" fmla="*/ 1820773 h 4424259"/>
              <a:gd name="connsiteX4" fmla="*/ 1805357 w 1805357"/>
              <a:gd name="connsiteY4" fmla="*/ 2045408 h 4424259"/>
              <a:gd name="connsiteX5" fmla="*/ 1646141 w 1805357"/>
              <a:gd name="connsiteY5" fmla="*/ 2270043 h 4424259"/>
              <a:gd name="connsiteX6" fmla="*/ 1646141 w 1805357"/>
              <a:gd name="connsiteY6" fmla="*/ 4424259 h 4424259"/>
              <a:gd name="connsiteX7" fmla="*/ 274362 w 1805357"/>
              <a:gd name="connsiteY7" fmla="*/ 4424259 h 4424259"/>
              <a:gd name="connsiteX8" fmla="*/ 0 w 1805357"/>
              <a:gd name="connsiteY8" fmla="*/ 4149897 h 442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5357" h="4424259">
                <a:moveTo>
                  <a:pt x="0" y="0"/>
                </a:moveTo>
                <a:lnTo>
                  <a:pt x="1371779" y="0"/>
                </a:lnTo>
                <a:lnTo>
                  <a:pt x="1646141" y="274362"/>
                </a:lnTo>
                <a:lnTo>
                  <a:pt x="1646141" y="1820773"/>
                </a:lnTo>
                <a:lnTo>
                  <a:pt x="1805357" y="2045408"/>
                </a:lnTo>
                <a:lnTo>
                  <a:pt x="1646141" y="2270043"/>
                </a:lnTo>
                <a:lnTo>
                  <a:pt x="1646141" y="4424259"/>
                </a:lnTo>
                <a:lnTo>
                  <a:pt x="274362" y="4424259"/>
                </a:lnTo>
                <a:lnTo>
                  <a:pt x="0" y="4149897"/>
                </a:lnTo>
                <a:close/>
              </a:path>
            </a:pathLst>
          </a:cu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00" dirty="0"/>
          </a:p>
        </p:txBody>
      </p:sp>
      <p:sp>
        <p:nvSpPr>
          <p:cNvPr id="87" name="Right Triangle 86">
            <a:extLst>
              <a:ext uri="{FF2B5EF4-FFF2-40B4-BE49-F238E27FC236}">
                <a16:creationId xmlns:a16="http://schemas.microsoft.com/office/drawing/2014/main" id="{85E92395-A2D1-44DA-8EBC-AF8C08DFB10A}"/>
              </a:ext>
            </a:extLst>
          </p:cNvPr>
          <p:cNvSpPr/>
          <p:nvPr/>
        </p:nvSpPr>
        <p:spPr>
          <a:xfrm>
            <a:off x="4316415" y="4867391"/>
            <a:ext cx="1671566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88" name="Text Placeholder 40">
            <a:extLst>
              <a:ext uri="{FF2B5EF4-FFF2-40B4-BE49-F238E27FC236}">
                <a16:creationId xmlns:a16="http://schemas.microsoft.com/office/drawing/2014/main" id="{07269384-6AF2-47A7-9217-6AE242B45DE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99421" y="1598393"/>
            <a:ext cx="1441952" cy="700369"/>
          </a:xfrm>
        </p:spPr>
        <p:txBody>
          <a:bodyPr>
            <a:noAutofit/>
          </a:bodyPr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⁄"/>
              <a:defRPr sz="1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91" name="Text Placeholder 3">
            <a:extLst>
              <a:ext uri="{FF2B5EF4-FFF2-40B4-BE49-F238E27FC236}">
                <a16:creationId xmlns:a16="http://schemas.microsoft.com/office/drawing/2014/main" id="{306762F5-01BD-4168-BC63-E534AF68AB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98163" y="2461260"/>
            <a:ext cx="1502120" cy="240613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r>
              <a:rPr lang="en-US" dirty="0"/>
              <a:t>Bullet Point - 5</a:t>
            </a:r>
          </a:p>
          <a:p>
            <a:pPr lvl="0"/>
            <a:endParaRPr lang="en-US" dirty="0"/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1607AD9D-97C5-480F-A6C8-23E59862E2F6}"/>
              </a:ext>
            </a:extLst>
          </p:cNvPr>
          <p:cNvSpPr/>
          <p:nvPr/>
        </p:nvSpPr>
        <p:spPr>
          <a:xfrm>
            <a:off x="6155770" y="1262516"/>
            <a:ext cx="1805357" cy="4424259"/>
          </a:xfrm>
          <a:custGeom>
            <a:avLst/>
            <a:gdLst>
              <a:gd name="connsiteX0" fmla="*/ 0 w 1805357"/>
              <a:gd name="connsiteY0" fmla="*/ 0 h 4424259"/>
              <a:gd name="connsiteX1" fmla="*/ 1371779 w 1805357"/>
              <a:gd name="connsiteY1" fmla="*/ 0 h 4424259"/>
              <a:gd name="connsiteX2" fmla="*/ 1646141 w 1805357"/>
              <a:gd name="connsiteY2" fmla="*/ 274362 h 4424259"/>
              <a:gd name="connsiteX3" fmla="*/ 1646141 w 1805357"/>
              <a:gd name="connsiteY3" fmla="*/ 1820774 h 4424259"/>
              <a:gd name="connsiteX4" fmla="*/ 1805357 w 1805357"/>
              <a:gd name="connsiteY4" fmla="*/ 2045408 h 4424259"/>
              <a:gd name="connsiteX5" fmla="*/ 1646141 w 1805357"/>
              <a:gd name="connsiteY5" fmla="*/ 2270043 h 4424259"/>
              <a:gd name="connsiteX6" fmla="*/ 1646141 w 1805357"/>
              <a:gd name="connsiteY6" fmla="*/ 4424259 h 4424259"/>
              <a:gd name="connsiteX7" fmla="*/ 274362 w 1805357"/>
              <a:gd name="connsiteY7" fmla="*/ 4424259 h 4424259"/>
              <a:gd name="connsiteX8" fmla="*/ 0 w 1805357"/>
              <a:gd name="connsiteY8" fmla="*/ 4149897 h 442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5357" h="4424259">
                <a:moveTo>
                  <a:pt x="0" y="0"/>
                </a:moveTo>
                <a:lnTo>
                  <a:pt x="1371779" y="0"/>
                </a:lnTo>
                <a:lnTo>
                  <a:pt x="1646141" y="274362"/>
                </a:lnTo>
                <a:lnTo>
                  <a:pt x="1646141" y="1820774"/>
                </a:lnTo>
                <a:lnTo>
                  <a:pt x="1805357" y="2045408"/>
                </a:lnTo>
                <a:lnTo>
                  <a:pt x="1646141" y="2270043"/>
                </a:lnTo>
                <a:lnTo>
                  <a:pt x="1646141" y="4424259"/>
                </a:lnTo>
                <a:lnTo>
                  <a:pt x="274362" y="4424259"/>
                </a:lnTo>
                <a:lnTo>
                  <a:pt x="0" y="4149897"/>
                </a:lnTo>
                <a:close/>
              </a:path>
            </a:pathLst>
          </a:cu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00" dirty="0"/>
          </a:p>
        </p:txBody>
      </p:sp>
      <p:sp>
        <p:nvSpPr>
          <p:cNvPr id="93" name="Right Triangle 92">
            <a:extLst>
              <a:ext uri="{FF2B5EF4-FFF2-40B4-BE49-F238E27FC236}">
                <a16:creationId xmlns:a16="http://schemas.microsoft.com/office/drawing/2014/main" id="{31E23E73-CF37-4EB9-A001-2C2D10515AF7}"/>
              </a:ext>
            </a:extLst>
          </p:cNvPr>
          <p:cNvSpPr/>
          <p:nvPr/>
        </p:nvSpPr>
        <p:spPr>
          <a:xfrm>
            <a:off x="6155768" y="4851459"/>
            <a:ext cx="1671566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94" name="Text Placeholder 40">
            <a:extLst>
              <a:ext uri="{FF2B5EF4-FFF2-40B4-BE49-F238E27FC236}">
                <a16:creationId xmlns:a16="http://schemas.microsoft.com/office/drawing/2014/main" id="{EDAE29C5-0662-4AC3-A889-521E7FB86DA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38774" y="1582461"/>
            <a:ext cx="1441952" cy="700369"/>
          </a:xfrm>
        </p:spPr>
        <p:txBody>
          <a:bodyPr>
            <a:noAutofit/>
          </a:bodyPr>
          <a:lstStyle>
            <a:lvl1pPr marL="228600" indent="-228600">
              <a:buClr>
                <a:schemeClr val="tx1"/>
              </a:buClr>
              <a:buFont typeface="Arial" panose="020B0604020202020204" pitchFamily="34" charset="0"/>
              <a:buChar char="⁄"/>
              <a:defRPr sz="1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97" name="Text Placeholder 3">
            <a:extLst>
              <a:ext uri="{FF2B5EF4-FFF2-40B4-BE49-F238E27FC236}">
                <a16:creationId xmlns:a16="http://schemas.microsoft.com/office/drawing/2014/main" id="{E17904C5-852F-40E5-92EE-A9C6260DD91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37516" y="2445328"/>
            <a:ext cx="1502120" cy="240613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r>
              <a:rPr lang="en-US" dirty="0"/>
              <a:t>Bullet Point - 5</a:t>
            </a:r>
          </a:p>
          <a:p>
            <a:pPr lvl="0"/>
            <a:endParaRPr lang="en-US" dirty="0"/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F765519-D2EE-44B4-B670-0E93F9A3A9AA}"/>
              </a:ext>
            </a:extLst>
          </p:cNvPr>
          <p:cNvSpPr/>
          <p:nvPr/>
        </p:nvSpPr>
        <p:spPr>
          <a:xfrm>
            <a:off x="8035382" y="1306956"/>
            <a:ext cx="1805357" cy="4364570"/>
          </a:xfrm>
          <a:custGeom>
            <a:avLst/>
            <a:gdLst>
              <a:gd name="connsiteX0" fmla="*/ 0 w 1805357"/>
              <a:gd name="connsiteY0" fmla="*/ 0 h 4424259"/>
              <a:gd name="connsiteX1" fmla="*/ 1371779 w 1805357"/>
              <a:gd name="connsiteY1" fmla="*/ 0 h 4424259"/>
              <a:gd name="connsiteX2" fmla="*/ 1646141 w 1805357"/>
              <a:gd name="connsiteY2" fmla="*/ 274362 h 4424259"/>
              <a:gd name="connsiteX3" fmla="*/ 1646141 w 1805357"/>
              <a:gd name="connsiteY3" fmla="*/ 1820773 h 4424259"/>
              <a:gd name="connsiteX4" fmla="*/ 1805357 w 1805357"/>
              <a:gd name="connsiteY4" fmla="*/ 2045408 h 4424259"/>
              <a:gd name="connsiteX5" fmla="*/ 1646141 w 1805357"/>
              <a:gd name="connsiteY5" fmla="*/ 2270043 h 4424259"/>
              <a:gd name="connsiteX6" fmla="*/ 1646141 w 1805357"/>
              <a:gd name="connsiteY6" fmla="*/ 4424259 h 4424259"/>
              <a:gd name="connsiteX7" fmla="*/ 274362 w 1805357"/>
              <a:gd name="connsiteY7" fmla="*/ 4424259 h 4424259"/>
              <a:gd name="connsiteX8" fmla="*/ 0 w 1805357"/>
              <a:gd name="connsiteY8" fmla="*/ 4149897 h 4424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05357" h="4424259">
                <a:moveTo>
                  <a:pt x="0" y="0"/>
                </a:moveTo>
                <a:lnTo>
                  <a:pt x="1371779" y="0"/>
                </a:lnTo>
                <a:lnTo>
                  <a:pt x="1646141" y="274362"/>
                </a:lnTo>
                <a:lnTo>
                  <a:pt x="1646141" y="1820773"/>
                </a:lnTo>
                <a:lnTo>
                  <a:pt x="1805357" y="2045408"/>
                </a:lnTo>
                <a:lnTo>
                  <a:pt x="1646141" y="2270043"/>
                </a:lnTo>
                <a:lnTo>
                  <a:pt x="1646141" y="4424259"/>
                </a:lnTo>
                <a:lnTo>
                  <a:pt x="274362" y="4424259"/>
                </a:lnTo>
                <a:lnTo>
                  <a:pt x="0" y="4149897"/>
                </a:lnTo>
                <a:close/>
              </a:path>
            </a:pathLst>
          </a:cu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00" dirty="0"/>
          </a:p>
        </p:txBody>
      </p:sp>
      <p:sp>
        <p:nvSpPr>
          <p:cNvPr id="99" name="Right Triangle 98">
            <a:extLst>
              <a:ext uri="{FF2B5EF4-FFF2-40B4-BE49-F238E27FC236}">
                <a16:creationId xmlns:a16="http://schemas.microsoft.com/office/drawing/2014/main" id="{637E0BF0-C524-4EF2-BDDA-797CC80B387D}"/>
              </a:ext>
            </a:extLst>
          </p:cNvPr>
          <p:cNvSpPr/>
          <p:nvPr/>
        </p:nvSpPr>
        <p:spPr>
          <a:xfrm>
            <a:off x="8035380" y="4895898"/>
            <a:ext cx="1671566" cy="790877"/>
          </a:xfrm>
          <a:prstGeom prst="rtTriangle">
            <a:avLst/>
          </a:prstGeom>
          <a:solidFill>
            <a:srgbClr val="A2C8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100" name="Text Placeholder 40">
            <a:extLst>
              <a:ext uri="{FF2B5EF4-FFF2-40B4-BE49-F238E27FC236}">
                <a16:creationId xmlns:a16="http://schemas.microsoft.com/office/drawing/2014/main" id="{CB01DE93-B11D-4144-A901-854F22B8B1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18386" y="1626900"/>
            <a:ext cx="1441952" cy="700369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8C45AD48-8FE7-4FF5-9DB5-9BF18D7312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17128" y="2489767"/>
            <a:ext cx="1502120" cy="240613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r>
              <a:rPr lang="en-US" dirty="0"/>
              <a:t>Bullet Point - 5</a:t>
            </a:r>
          </a:p>
          <a:p>
            <a:pPr lvl="0"/>
            <a:endParaRPr lang="en-US" dirty="0"/>
          </a:p>
        </p:txBody>
      </p:sp>
      <p:sp>
        <p:nvSpPr>
          <p:cNvPr id="104" name="Snip Diagonal Corner Rectangle 24">
            <a:extLst>
              <a:ext uri="{FF2B5EF4-FFF2-40B4-BE49-F238E27FC236}">
                <a16:creationId xmlns:a16="http://schemas.microsoft.com/office/drawing/2014/main" id="{D807FE80-D213-4C11-AC57-8887EF5E7F3C}"/>
              </a:ext>
            </a:extLst>
          </p:cNvPr>
          <p:cNvSpPr/>
          <p:nvPr/>
        </p:nvSpPr>
        <p:spPr>
          <a:xfrm>
            <a:off x="9966916" y="1316207"/>
            <a:ext cx="1646141" cy="4424259"/>
          </a:xfrm>
          <a:prstGeom prst="snip2DiagRect">
            <a:avLst/>
          </a:prstGeom>
          <a:solidFill>
            <a:srgbClr val="F5F9FD"/>
          </a:solidFill>
          <a:ln w="3175">
            <a:solidFill>
              <a:schemeClr val="accent1">
                <a:lumMod val="25000"/>
                <a:lumOff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0" dirty="0"/>
          </a:p>
        </p:txBody>
      </p:sp>
      <p:sp>
        <p:nvSpPr>
          <p:cNvPr id="105" name="Right Triangle 104">
            <a:extLst>
              <a:ext uri="{FF2B5EF4-FFF2-40B4-BE49-F238E27FC236}">
                <a16:creationId xmlns:a16="http://schemas.microsoft.com/office/drawing/2014/main" id="{EFA07CAA-1B3D-49FD-950F-220F6E818542}"/>
              </a:ext>
            </a:extLst>
          </p:cNvPr>
          <p:cNvSpPr/>
          <p:nvPr/>
        </p:nvSpPr>
        <p:spPr>
          <a:xfrm>
            <a:off x="9966914" y="4905150"/>
            <a:ext cx="1671566" cy="842341"/>
          </a:xfrm>
          <a:prstGeom prst="rtTriangle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+mj-lt"/>
            </a:endParaRPr>
          </a:p>
        </p:txBody>
      </p:sp>
      <p:sp>
        <p:nvSpPr>
          <p:cNvPr id="106" name="Text Placeholder 40">
            <a:extLst>
              <a:ext uri="{FF2B5EF4-FFF2-40B4-BE49-F238E27FC236}">
                <a16:creationId xmlns:a16="http://schemas.microsoft.com/office/drawing/2014/main" id="{C9041F16-0287-4951-A550-2617A221349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049920" y="1636152"/>
            <a:ext cx="1441952" cy="700369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109" name="Text Placeholder 3">
            <a:extLst>
              <a:ext uri="{FF2B5EF4-FFF2-40B4-BE49-F238E27FC236}">
                <a16:creationId xmlns:a16="http://schemas.microsoft.com/office/drawing/2014/main" id="{629D8FF8-344E-4892-978B-0BB128612FC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048662" y="2499019"/>
            <a:ext cx="1502120" cy="2406131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r>
              <a:rPr lang="en-US" dirty="0"/>
              <a:t>Bullet Point - 5</a:t>
            </a:r>
          </a:p>
          <a:p>
            <a:pPr lvl="0"/>
            <a:endParaRPr lang="en-US" dirty="0"/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1E0C382C-D92D-49FF-AD5B-19C0DD1F29B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913" y="6317747"/>
            <a:ext cx="1636288" cy="401464"/>
          </a:xfrm>
          <a:prstGeom prst="rect">
            <a:avLst/>
          </a:prstGeom>
        </p:spPr>
      </p:pic>
      <p:sp>
        <p:nvSpPr>
          <p:cNvPr id="112" name="Rectangle 111">
            <a:extLst>
              <a:ext uri="{FF2B5EF4-FFF2-40B4-BE49-F238E27FC236}">
                <a16:creationId xmlns:a16="http://schemas.microsoft.com/office/drawing/2014/main" id="{49E41CFA-6460-4EBD-8F77-C361FCC5AA50}"/>
              </a:ext>
            </a:extLst>
          </p:cNvPr>
          <p:cNvSpPr/>
          <p:nvPr/>
        </p:nvSpPr>
        <p:spPr>
          <a:xfrm>
            <a:off x="598916" y="64428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E6686B15-76BA-4161-9983-9799959D83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5936" y="5074506"/>
            <a:ext cx="711965" cy="635226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Jan-Feb</a:t>
            </a:r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465B8E98-F255-4019-8C8F-A6FA71D007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464290" y="5036299"/>
            <a:ext cx="711965" cy="635226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r-</a:t>
            </a:r>
            <a:br>
              <a:rPr lang="en-US" dirty="0"/>
            </a:br>
            <a:r>
              <a:rPr lang="en-US" dirty="0"/>
              <a:t>Apr</a:t>
            </a:r>
          </a:p>
        </p:txBody>
      </p:sp>
      <p:sp>
        <p:nvSpPr>
          <p:cNvPr id="40" name="Text Placeholder 40">
            <a:extLst>
              <a:ext uri="{FF2B5EF4-FFF2-40B4-BE49-F238E27FC236}">
                <a16:creationId xmlns:a16="http://schemas.microsoft.com/office/drawing/2014/main" id="{144BBF11-94CB-42AA-AAB8-140BEB23E1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316415" y="5036299"/>
            <a:ext cx="711965" cy="635226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y-</a:t>
            </a:r>
            <a:br>
              <a:rPr lang="en-US" dirty="0"/>
            </a:br>
            <a:r>
              <a:rPr lang="en-US" dirty="0"/>
              <a:t>Jun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A9A78563-B28B-474A-B045-542BAD64E22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62976" y="5036299"/>
            <a:ext cx="711965" cy="635226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Jul-</a:t>
            </a:r>
            <a:br>
              <a:rPr lang="en-US" dirty="0"/>
            </a:br>
            <a:r>
              <a:rPr lang="en-US" dirty="0"/>
              <a:t>Aug</a:t>
            </a:r>
          </a:p>
        </p:txBody>
      </p:sp>
      <p:sp>
        <p:nvSpPr>
          <p:cNvPr id="42" name="Text Placeholder 40">
            <a:extLst>
              <a:ext uri="{FF2B5EF4-FFF2-40B4-BE49-F238E27FC236}">
                <a16:creationId xmlns:a16="http://schemas.microsoft.com/office/drawing/2014/main" id="{C5180D18-D366-4C1F-8264-97175EC27FD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35380" y="5033893"/>
            <a:ext cx="711965" cy="635226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ep-</a:t>
            </a:r>
            <a:br>
              <a:rPr lang="en-US" dirty="0"/>
            </a:br>
            <a:r>
              <a:rPr lang="en-US" dirty="0"/>
              <a:t>Oct</a:t>
            </a:r>
          </a:p>
        </p:txBody>
      </p:sp>
      <p:sp>
        <p:nvSpPr>
          <p:cNvPr id="43" name="Text Placeholder 40">
            <a:extLst>
              <a:ext uri="{FF2B5EF4-FFF2-40B4-BE49-F238E27FC236}">
                <a16:creationId xmlns:a16="http://schemas.microsoft.com/office/drawing/2014/main" id="{7BC21B6D-B1F5-4FA4-9216-72D572ED7F8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979761" y="5070992"/>
            <a:ext cx="711965" cy="635226"/>
          </a:xfrm>
        </p:spPr>
        <p:txBody>
          <a:bodyPr>
            <a:no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Nov-</a:t>
            </a:r>
            <a:br>
              <a:rPr lang="en-US" dirty="0"/>
            </a:br>
            <a:r>
              <a:rPr lang="en-US" dirty="0"/>
              <a:t>Dec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0BD260BC-4122-4587-9E3C-421A7725E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9694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76393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-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94463-EA68-0A4D-BB10-B2B538C7A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0596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DA6550C-5E96-428A-BDC9-6E2A8CE931F3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70A1CF4-2771-4055-8929-E5D8B05BD94B}"/>
              </a:ext>
            </a:extLst>
          </p:cNvPr>
          <p:cNvSpPr txBox="1">
            <a:spLocks/>
          </p:cNvSpPr>
          <p:nvPr userDrawn="1"/>
        </p:nvSpPr>
        <p:spPr>
          <a:xfrm>
            <a:off x="1646285" y="2523464"/>
            <a:ext cx="2370984" cy="25510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latin typeface="+mj-lt"/>
            </a:endParaRPr>
          </a:p>
          <a:p>
            <a:endParaRPr lang="en-US" sz="1400" b="1" dirty="0">
              <a:latin typeface="+mj-lt"/>
            </a:endParaRPr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E06585E7-F23F-4F16-BBC0-244890CBA9B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719804" y="2593631"/>
            <a:ext cx="2214829" cy="727126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6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08D859A-B8A3-41E3-82E3-520E7A38E7B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19803" y="3410919"/>
            <a:ext cx="2214829" cy="1520037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endParaRPr lang="en-US" dirty="0"/>
          </a:p>
        </p:txBody>
      </p:sp>
      <p:sp>
        <p:nvSpPr>
          <p:cNvPr id="40" name="Text Placeholder 40">
            <a:extLst>
              <a:ext uri="{FF2B5EF4-FFF2-40B4-BE49-F238E27FC236}">
                <a16:creationId xmlns:a16="http://schemas.microsoft.com/office/drawing/2014/main" id="{1C584C57-E678-48EA-A4AE-3DD97195A6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942" y="1474680"/>
            <a:ext cx="1398882" cy="700369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ED0C32D3-5E4A-46D3-B232-79020B528885}"/>
              </a:ext>
            </a:extLst>
          </p:cNvPr>
          <p:cNvSpPr/>
          <p:nvPr userDrawn="1"/>
        </p:nvSpPr>
        <p:spPr>
          <a:xfrm>
            <a:off x="1646285" y="1446616"/>
            <a:ext cx="2562157" cy="877886"/>
          </a:xfrm>
          <a:custGeom>
            <a:avLst/>
            <a:gdLst>
              <a:gd name="connsiteX0" fmla="*/ 0 w 2370984"/>
              <a:gd name="connsiteY0" fmla="*/ 0 h 877886"/>
              <a:gd name="connsiteX1" fmla="*/ 2170124 w 2370984"/>
              <a:gd name="connsiteY1" fmla="*/ 0 h 877886"/>
              <a:gd name="connsiteX2" fmla="*/ 2370984 w 2370984"/>
              <a:gd name="connsiteY2" fmla="*/ 448116 h 877886"/>
              <a:gd name="connsiteX3" fmla="*/ 2178348 w 2370984"/>
              <a:gd name="connsiteY3" fmla="*/ 877886 h 877886"/>
              <a:gd name="connsiteX4" fmla="*/ 8224 w 2370984"/>
              <a:gd name="connsiteY4" fmla="*/ 877886 h 877886"/>
              <a:gd name="connsiteX5" fmla="*/ 200859 w 2370984"/>
              <a:gd name="connsiteY5" fmla="*/ 448116 h 87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0984" h="877886">
                <a:moveTo>
                  <a:pt x="0" y="0"/>
                </a:moveTo>
                <a:lnTo>
                  <a:pt x="2170124" y="0"/>
                </a:lnTo>
                <a:lnTo>
                  <a:pt x="2370984" y="448116"/>
                </a:lnTo>
                <a:lnTo>
                  <a:pt x="2178348" y="877886"/>
                </a:lnTo>
                <a:lnTo>
                  <a:pt x="8224" y="877886"/>
                </a:lnTo>
                <a:lnTo>
                  <a:pt x="200859" y="448116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36BA3203-BA67-4BA7-BF38-FDA54217145A}"/>
              </a:ext>
            </a:extLst>
          </p:cNvPr>
          <p:cNvSpPr/>
          <p:nvPr userDrawn="1"/>
        </p:nvSpPr>
        <p:spPr>
          <a:xfrm>
            <a:off x="4208442" y="1446616"/>
            <a:ext cx="2562157" cy="877886"/>
          </a:xfrm>
          <a:custGeom>
            <a:avLst/>
            <a:gdLst>
              <a:gd name="connsiteX0" fmla="*/ 0 w 2370984"/>
              <a:gd name="connsiteY0" fmla="*/ 0 h 877886"/>
              <a:gd name="connsiteX1" fmla="*/ 2170124 w 2370984"/>
              <a:gd name="connsiteY1" fmla="*/ 0 h 877886"/>
              <a:gd name="connsiteX2" fmla="*/ 2370984 w 2370984"/>
              <a:gd name="connsiteY2" fmla="*/ 448116 h 877886"/>
              <a:gd name="connsiteX3" fmla="*/ 2178348 w 2370984"/>
              <a:gd name="connsiteY3" fmla="*/ 877886 h 877886"/>
              <a:gd name="connsiteX4" fmla="*/ 8224 w 2370984"/>
              <a:gd name="connsiteY4" fmla="*/ 877886 h 877886"/>
              <a:gd name="connsiteX5" fmla="*/ 200859 w 2370984"/>
              <a:gd name="connsiteY5" fmla="*/ 448116 h 87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0984" h="877886">
                <a:moveTo>
                  <a:pt x="0" y="0"/>
                </a:moveTo>
                <a:lnTo>
                  <a:pt x="2170124" y="0"/>
                </a:lnTo>
                <a:lnTo>
                  <a:pt x="2370984" y="448116"/>
                </a:lnTo>
                <a:lnTo>
                  <a:pt x="2178348" y="877886"/>
                </a:lnTo>
                <a:lnTo>
                  <a:pt x="8224" y="877886"/>
                </a:lnTo>
                <a:lnTo>
                  <a:pt x="200859" y="448116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D8A5100C-4952-46B7-9EF9-91F5F0B20104}"/>
              </a:ext>
            </a:extLst>
          </p:cNvPr>
          <p:cNvSpPr/>
          <p:nvPr userDrawn="1"/>
        </p:nvSpPr>
        <p:spPr>
          <a:xfrm>
            <a:off x="6797403" y="1446616"/>
            <a:ext cx="2562157" cy="877886"/>
          </a:xfrm>
          <a:custGeom>
            <a:avLst/>
            <a:gdLst>
              <a:gd name="connsiteX0" fmla="*/ 0 w 2370984"/>
              <a:gd name="connsiteY0" fmla="*/ 0 h 877886"/>
              <a:gd name="connsiteX1" fmla="*/ 2170124 w 2370984"/>
              <a:gd name="connsiteY1" fmla="*/ 0 h 877886"/>
              <a:gd name="connsiteX2" fmla="*/ 2370984 w 2370984"/>
              <a:gd name="connsiteY2" fmla="*/ 448116 h 877886"/>
              <a:gd name="connsiteX3" fmla="*/ 2178348 w 2370984"/>
              <a:gd name="connsiteY3" fmla="*/ 877886 h 877886"/>
              <a:gd name="connsiteX4" fmla="*/ 8224 w 2370984"/>
              <a:gd name="connsiteY4" fmla="*/ 877886 h 877886"/>
              <a:gd name="connsiteX5" fmla="*/ 200859 w 2370984"/>
              <a:gd name="connsiteY5" fmla="*/ 448116 h 87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0984" h="877886">
                <a:moveTo>
                  <a:pt x="0" y="0"/>
                </a:moveTo>
                <a:lnTo>
                  <a:pt x="2170124" y="0"/>
                </a:lnTo>
                <a:lnTo>
                  <a:pt x="2370984" y="448116"/>
                </a:lnTo>
                <a:lnTo>
                  <a:pt x="2178348" y="877886"/>
                </a:lnTo>
                <a:lnTo>
                  <a:pt x="8224" y="877886"/>
                </a:lnTo>
                <a:lnTo>
                  <a:pt x="200859" y="448116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140DE7B-7586-43DE-82E3-D65B490E620D}"/>
              </a:ext>
            </a:extLst>
          </p:cNvPr>
          <p:cNvSpPr/>
          <p:nvPr userDrawn="1"/>
        </p:nvSpPr>
        <p:spPr>
          <a:xfrm>
            <a:off x="9359560" y="1446616"/>
            <a:ext cx="2562157" cy="877886"/>
          </a:xfrm>
          <a:custGeom>
            <a:avLst/>
            <a:gdLst>
              <a:gd name="connsiteX0" fmla="*/ 0 w 2370984"/>
              <a:gd name="connsiteY0" fmla="*/ 0 h 877886"/>
              <a:gd name="connsiteX1" fmla="*/ 2170124 w 2370984"/>
              <a:gd name="connsiteY1" fmla="*/ 0 h 877886"/>
              <a:gd name="connsiteX2" fmla="*/ 2370984 w 2370984"/>
              <a:gd name="connsiteY2" fmla="*/ 448116 h 877886"/>
              <a:gd name="connsiteX3" fmla="*/ 2178348 w 2370984"/>
              <a:gd name="connsiteY3" fmla="*/ 877886 h 877886"/>
              <a:gd name="connsiteX4" fmla="*/ 8224 w 2370984"/>
              <a:gd name="connsiteY4" fmla="*/ 877886 h 877886"/>
              <a:gd name="connsiteX5" fmla="*/ 200859 w 2370984"/>
              <a:gd name="connsiteY5" fmla="*/ 448116 h 87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70984" h="877886">
                <a:moveTo>
                  <a:pt x="0" y="0"/>
                </a:moveTo>
                <a:lnTo>
                  <a:pt x="2170124" y="0"/>
                </a:lnTo>
                <a:lnTo>
                  <a:pt x="2370984" y="448116"/>
                </a:lnTo>
                <a:lnTo>
                  <a:pt x="2178348" y="877886"/>
                </a:lnTo>
                <a:lnTo>
                  <a:pt x="8224" y="877886"/>
                </a:lnTo>
                <a:lnTo>
                  <a:pt x="200859" y="448116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0CF2FF85-10E5-4F61-BF30-8FCD4165083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31864" y="1553966"/>
            <a:ext cx="2002769" cy="700369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F273633-C208-483E-A22D-9B4770B3B536}"/>
              </a:ext>
            </a:extLst>
          </p:cNvPr>
          <p:cNvSpPr txBox="1">
            <a:spLocks/>
          </p:cNvSpPr>
          <p:nvPr userDrawn="1"/>
        </p:nvSpPr>
        <p:spPr>
          <a:xfrm>
            <a:off x="4195120" y="2523464"/>
            <a:ext cx="2370984" cy="25510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latin typeface="+mj-lt"/>
            </a:endParaRPr>
          </a:p>
          <a:p>
            <a:endParaRPr lang="en-US" sz="1400" b="1" dirty="0">
              <a:latin typeface="+mj-lt"/>
            </a:endParaRPr>
          </a:p>
        </p:txBody>
      </p:sp>
      <p:sp>
        <p:nvSpPr>
          <p:cNvPr id="54" name="Text Placeholder 40">
            <a:extLst>
              <a:ext uri="{FF2B5EF4-FFF2-40B4-BE49-F238E27FC236}">
                <a16:creationId xmlns:a16="http://schemas.microsoft.com/office/drawing/2014/main" id="{8D21DFE3-B232-4BB1-B5A7-CCA47CD3847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8639" y="2593631"/>
            <a:ext cx="2214829" cy="727126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6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F5613865-EB0A-4D8F-B653-C2E9A1BD1D3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68638" y="3410919"/>
            <a:ext cx="2214829" cy="1520037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endParaRPr lang="en-US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04E86F1-39C6-4A29-AD0E-C733FF7BDC6A}"/>
              </a:ext>
            </a:extLst>
          </p:cNvPr>
          <p:cNvSpPr txBox="1">
            <a:spLocks/>
          </p:cNvSpPr>
          <p:nvPr userDrawn="1"/>
        </p:nvSpPr>
        <p:spPr>
          <a:xfrm>
            <a:off x="6797402" y="2523464"/>
            <a:ext cx="2370984" cy="25510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latin typeface="+mj-lt"/>
            </a:endParaRPr>
          </a:p>
          <a:p>
            <a:endParaRPr lang="en-US" sz="1400" b="1" dirty="0">
              <a:latin typeface="+mj-lt"/>
            </a:endParaRPr>
          </a:p>
        </p:txBody>
      </p:sp>
      <p:sp>
        <p:nvSpPr>
          <p:cNvPr id="57" name="Text Placeholder 40">
            <a:extLst>
              <a:ext uri="{FF2B5EF4-FFF2-40B4-BE49-F238E27FC236}">
                <a16:creationId xmlns:a16="http://schemas.microsoft.com/office/drawing/2014/main" id="{699E973F-08ED-4695-AEC9-F09CF1E40E6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70921" y="2593631"/>
            <a:ext cx="2214829" cy="727126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6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1E6DE35B-F7A0-4119-AB5A-D488FB81F3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70920" y="3410919"/>
            <a:ext cx="2214829" cy="1520037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endParaRPr lang="en-US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1CB7F06-4CF5-453E-9C5D-45BB70690C04}"/>
              </a:ext>
            </a:extLst>
          </p:cNvPr>
          <p:cNvSpPr txBox="1">
            <a:spLocks/>
          </p:cNvSpPr>
          <p:nvPr userDrawn="1"/>
        </p:nvSpPr>
        <p:spPr>
          <a:xfrm>
            <a:off x="9364779" y="2523464"/>
            <a:ext cx="2370984" cy="25510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latin typeface="+mj-lt"/>
            </a:endParaRPr>
          </a:p>
          <a:p>
            <a:endParaRPr lang="en-US" sz="1400" b="1" dirty="0">
              <a:latin typeface="+mj-lt"/>
            </a:endParaRPr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72CEB125-2378-4E09-A9C4-3C3AEF6CB77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438298" y="2593631"/>
            <a:ext cx="2214829" cy="727126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600" b="1">
                <a:solidFill>
                  <a:schemeClr val="accent6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3D838200-2F1F-4B41-9C9A-B9261A52838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438297" y="3410919"/>
            <a:ext cx="2214829" cy="1520037"/>
          </a:xfr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lvl="0"/>
            <a:r>
              <a:rPr lang="en-US" dirty="0"/>
              <a:t>Bullet Point -4</a:t>
            </a:r>
          </a:p>
          <a:p>
            <a:pPr lvl="0"/>
            <a:endParaRPr lang="en-US" dirty="0"/>
          </a:p>
        </p:txBody>
      </p:sp>
      <p:sp>
        <p:nvSpPr>
          <p:cNvPr id="64" name="Text Placeholder 40">
            <a:extLst>
              <a:ext uri="{FF2B5EF4-FFF2-40B4-BE49-F238E27FC236}">
                <a16:creationId xmlns:a16="http://schemas.microsoft.com/office/drawing/2014/main" id="{66160062-5EC7-4788-A131-7209C256710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70456" y="1537184"/>
            <a:ext cx="2002769" cy="700369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7DEE03EC-4E08-4374-80CE-939ECE19A77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082981" y="1553965"/>
            <a:ext cx="2002769" cy="700369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66" name="Text Placeholder 40">
            <a:extLst>
              <a:ext uri="{FF2B5EF4-FFF2-40B4-BE49-F238E27FC236}">
                <a16:creationId xmlns:a16="http://schemas.microsoft.com/office/drawing/2014/main" id="{60270141-0B54-47E6-9F94-BF7EAE19E48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33370" y="1534335"/>
            <a:ext cx="2002769" cy="700369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F177D92-B8A0-4098-B0A4-36A747EFFCD9}"/>
              </a:ext>
            </a:extLst>
          </p:cNvPr>
          <p:cNvSpPr/>
          <p:nvPr userDrawn="1"/>
        </p:nvSpPr>
        <p:spPr>
          <a:xfrm>
            <a:off x="490961" y="2521844"/>
            <a:ext cx="782198" cy="78219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69" name="Text Placeholder 40">
            <a:extLst>
              <a:ext uri="{FF2B5EF4-FFF2-40B4-BE49-F238E27FC236}">
                <a16:creationId xmlns:a16="http://schemas.microsoft.com/office/drawing/2014/main" id="{8192D644-F6C9-4F22-861B-A0C6F286250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02941" y="3429000"/>
            <a:ext cx="1360707" cy="700369"/>
          </a:xfrm>
        </p:spPr>
        <p:txBody>
          <a:bodyPr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1400" b="1">
                <a:solidFill>
                  <a:schemeClr val="accent6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 Category Goes Here</a:t>
            </a:r>
          </a:p>
        </p:txBody>
      </p:sp>
    </p:spTree>
    <p:extLst>
      <p:ext uri="{BB962C8B-B14F-4D97-AF65-F5344CB8AC3E}">
        <p14:creationId xmlns:p14="http://schemas.microsoft.com/office/powerpoint/2010/main" val="345022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- Y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8820E363-943C-4118-B3F1-624250982F0C}"/>
              </a:ext>
            </a:extLst>
          </p:cNvPr>
          <p:cNvGrpSpPr/>
          <p:nvPr/>
        </p:nvGrpSpPr>
        <p:grpSpPr>
          <a:xfrm>
            <a:off x="823260" y="3315208"/>
            <a:ext cx="10771995" cy="438552"/>
            <a:chOff x="823260" y="3315208"/>
            <a:chExt cx="10771995" cy="438552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CAB58A0-1941-4821-99B0-56592303AEF4}"/>
                </a:ext>
              </a:extLst>
            </p:cNvPr>
            <p:cNvCxnSpPr>
              <a:cxnSpLocks/>
            </p:cNvCxnSpPr>
            <p:nvPr/>
          </p:nvCxnSpPr>
          <p:spPr>
            <a:xfrm>
              <a:off x="948192" y="3534487"/>
              <a:ext cx="10550701" cy="0"/>
            </a:xfrm>
            <a:prstGeom prst="line">
              <a:avLst/>
            </a:prstGeom>
            <a:ln w="6350">
              <a:solidFill>
                <a:schemeClr val="accent1"/>
              </a:solidFill>
              <a:headEnd w="lg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18A82A75-AA63-4460-847B-6EFD4D35754A}"/>
                </a:ext>
              </a:extLst>
            </p:cNvPr>
            <p:cNvSpPr/>
            <p:nvPr/>
          </p:nvSpPr>
          <p:spPr>
            <a:xfrm rot="5400000">
              <a:off x="11252039" y="3410544"/>
              <a:ext cx="438552" cy="247880"/>
            </a:xfrm>
            <a:prstGeom prst="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Flowchart: Connector 4">
              <a:extLst>
                <a:ext uri="{FF2B5EF4-FFF2-40B4-BE49-F238E27FC236}">
                  <a16:creationId xmlns:a16="http://schemas.microsoft.com/office/drawing/2014/main" id="{57F68F85-F9FF-4B38-B4AD-5C9BF0B4564A}"/>
                </a:ext>
              </a:extLst>
            </p:cNvPr>
            <p:cNvSpPr/>
            <p:nvPr/>
          </p:nvSpPr>
          <p:spPr>
            <a:xfrm>
              <a:off x="823260" y="3410543"/>
              <a:ext cx="240616" cy="247881"/>
            </a:xfrm>
            <a:prstGeom prst="flowChartConnec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979CE081-3B1E-41BE-8EE6-409FAA91A3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4176" y="190596"/>
            <a:ext cx="10598097" cy="66327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sz="3600" b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Year at a glan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EDA619-7405-43FA-B269-F5C6C5097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E6E22318-4E1A-434F-AE51-1D17726B3963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F03AB6-39E6-4634-99B6-CDC115356F4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04E693F-61E5-4A28-8727-CC70CCDAEEFA}"/>
              </a:ext>
            </a:extLst>
          </p:cNvPr>
          <p:cNvCxnSpPr>
            <a:cxnSpLocks/>
          </p:cNvCxnSpPr>
          <p:nvPr/>
        </p:nvCxnSpPr>
        <p:spPr>
          <a:xfrm flipH="1">
            <a:off x="1624007" y="2641600"/>
            <a:ext cx="11605" cy="1642556"/>
          </a:xfrm>
          <a:prstGeom prst="line">
            <a:avLst/>
          </a:prstGeom>
          <a:ln w="28575" cmpd="sng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AE030EE-FF42-4A91-B2B6-2FC11D801F3A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671728B-8742-4510-BF90-DBDE0712316C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sp>
        <p:nvSpPr>
          <p:cNvPr id="67" name="Text Placeholder 40">
            <a:extLst>
              <a:ext uri="{FF2B5EF4-FFF2-40B4-BE49-F238E27FC236}">
                <a16:creationId xmlns:a16="http://schemas.microsoft.com/office/drawing/2014/main" id="{0169AEC9-A6C9-48FC-8949-0BE403A02F8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12018" y="3181121"/>
            <a:ext cx="823977" cy="706731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0" indent="0" algn="ctr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Jan-</a:t>
            </a:r>
            <a:br>
              <a:rPr lang="en-US" dirty="0"/>
            </a:br>
            <a:r>
              <a:rPr lang="en-US" dirty="0"/>
              <a:t>Feb</a:t>
            </a:r>
          </a:p>
        </p:txBody>
      </p:sp>
      <p:sp>
        <p:nvSpPr>
          <p:cNvPr id="71" name="Text Placeholder 3">
            <a:extLst>
              <a:ext uri="{FF2B5EF4-FFF2-40B4-BE49-F238E27FC236}">
                <a16:creationId xmlns:a16="http://schemas.microsoft.com/office/drawing/2014/main" id="{DB0D9909-C871-48B1-95CF-57DF8022EA3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8192" y="4410870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B1880860-6CED-4733-BB94-DF1EC073161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8192" y="1398366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DBE15966-9C4D-47FF-8114-CE88259B3E99}"/>
              </a:ext>
            </a:extLst>
          </p:cNvPr>
          <p:cNvCxnSpPr>
            <a:cxnSpLocks/>
          </p:cNvCxnSpPr>
          <p:nvPr/>
        </p:nvCxnSpPr>
        <p:spPr>
          <a:xfrm flipH="1">
            <a:off x="3156257" y="2641600"/>
            <a:ext cx="11605" cy="1642556"/>
          </a:xfrm>
          <a:prstGeom prst="line">
            <a:avLst/>
          </a:prstGeom>
          <a:ln w="28575" cmpd="sng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 Placeholder 3">
            <a:extLst>
              <a:ext uri="{FF2B5EF4-FFF2-40B4-BE49-F238E27FC236}">
                <a16:creationId xmlns:a16="http://schemas.microsoft.com/office/drawing/2014/main" id="{A95CDCE5-FA20-4DAF-8A01-FE08E12141F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80442" y="4410870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03" name="Text Placeholder 3">
            <a:extLst>
              <a:ext uri="{FF2B5EF4-FFF2-40B4-BE49-F238E27FC236}">
                <a16:creationId xmlns:a16="http://schemas.microsoft.com/office/drawing/2014/main" id="{AA9985CE-884A-495B-BD0D-CF3255C3700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80442" y="1398366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529A946-B70E-41C5-8810-07E9623832A2}"/>
              </a:ext>
            </a:extLst>
          </p:cNvPr>
          <p:cNvCxnSpPr>
            <a:cxnSpLocks/>
          </p:cNvCxnSpPr>
          <p:nvPr/>
        </p:nvCxnSpPr>
        <p:spPr>
          <a:xfrm flipH="1">
            <a:off x="4646549" y="2641600"/>
            <a:ext cx="11605" cy="1642556"/>
          </a:xfrm>
          <a:prstGeom prst="line">
            <a:avLst/>
          </a:prstGeom>
          <a:ln w="28575" cmpd="sng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82CB015D-7918-43F8-9F9A-AC4BF486BB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970734" y="4410870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24" name="Text Placeholder 3">
            <a:extLst>
              <a:ext uri="{FF2B5EF4-FFF2-40B4-BE49-F238E27FC236}">
                <a16:creationId xmlns:a16="http://schemas.microsoft.com/office/drawing/2014/main" id="{FBC350A8-8311-4754-92B2-CC9A883A775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970734" y="1398366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83DCC493-8878-483F-947D-7EC41DBCF950}"/>
              </a:ext>
            </a:extLst>
          </p:cNvPr>
          <p:cNvCxnSpPr>
            <a:cxnSpLocks/>
          </p:cNvCxnSpPr>
          <p:nvPr/>
        </p:nvCxnSpPr>
        <p:spPr>
          <a:xfrm flipH="1">
            <a:off x="6136841" y="2641600"/>
            <a:ext cx="11605" cy="1642556"/>
          </a:xfrm>
          <a:prstGeom prst="line">
            <a:avLst/>
          </a:prstGeom>
          <a:ln w="28575" cmpd="sng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 Placeholder 3">
            <a:extLst>
              <a:ext uri="{FF2B5EF4-FFF2-40B4-BE49-F238E27FC236}">
                <a16:creationId xmlns:a16="http://schemas.microsoft.com/office/drawing/2014/main" id="{179E3774-1DEA-4770-B255-9C7BCACEE00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61026" y="4410870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32" name="Text Placeholder 3">
            <a:extLst>
              <a:ext uri="{FF2B5EF4-FFF2-40B4-BE49-F238E27FC236}">
                <a16:creationId xmlns:a16="http://schemas.microsoft.com/office/drawing/2014/main" id="{7C5D236D-F332-49F6-BD6C-D2CFF50F808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461026" y="1398366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8DAE3B80-A88E-41D4-9E65-42D1250D3055}"/>
              </a:ext>
            </a:extLst>
          </p:cNvPr>
          <p:cNvCxnSpPr>
            <a:cxnSpLocks/>
          </p:cNvCxnSpPr>
          <p:nvPr/>
        </p:nvCxnSpPr>
        <p:spPr>
          <a:xfrm flipH="1">
            <a:off x="7636126" y="2641600"/>
            <a:ext cx="11605" cy="1642556"/>
          </a:xfrm>
          <a:prstGeom prst="line">
            <a:avLst/>
          </a:prstGeom>
          <a:ln w="28575" cmpd="sng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2285A662-88BC-4D1B-B72E-2AA135D27D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960311" y="4410870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36" name="Text Placeholder 3">
            <a:extLst>
              <a:ext uri="{FF2B5EF4-FFF2-40B4-BE49-F238E27FC236}">
                <a16:creationId xmlns:a16="http://schemas.microsoft.com/office/drawing/2014/main" id="{AC5C9CD3-C4E7-4A4C-8A15-8AA9A9CE6A0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960311" y="1398366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E2C3B0E3-5C49-4312-835D-ED200DE09B01}"/>
              </a:ext>
            </a:extLst>
          </p:cNvPr>
          <p:cNvCxnSpPr>
            <a:cxnSpLocks/>
          </p:cNvCxnSpPr>
          <p:nvPr/>
        </p:nvCxnSpPr>
        <p:spPr>
          <a:xfrm flipH="1">
            <a:off x="9135411" y="2641600"/>
            <a:ext cx="11605" cy="1642556"/>
          </a:xfrm>
          <a:prstGeom prst="line">
            <a:avLst/>
          </a:prstGeom>
          <a:ln w="28575" cmpd="sng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 Placeholder 3">
            <a:extLst>
              <a:ext uri="{FF2B5EF4-FFF2-40B4-BE49-F238E27FC236}">
                <a16:creationId xmlns:a16="http://schemas.microsoft.com/office/drawing/2014/main" id="{A72EC463-B4D1-4E1F-8A48-A77C573850B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459596" y="4410870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0" name="Text Placeholder 3">
            <a:extLst>
              <a:ext uri="{FF2B5EF4-FFF2-40B4-BE49-F238E27FC236}">
                <a16:creationId xmlns:a16="http://schemas.microsoft.com/office/drawing/2014/main" id="{182F1983-BF62-4FD7-9651-9DD9B2B501A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459596" y="1398366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7D8CCC1C-5DF2-4694-A76C-99F36623D158}"/>
              </a:ext>
            </a:extLst>
          </p:cNvPr>
          <p:cNvCxnSpPr>
            <a:cxnSpLocks/>
          </p:cNvCxnSpPr>
          <p:nvPr/>
        </p:nvCxnSpPr>
        <p:spPr>
          <a:xfrm flipH="1">
            <a:off x="10634696" y="2641600"/>
            <a:ext cx="11605" cy="1642556"/>
          </a:xfrm>
          <a:prstGeom prst="line">
            <a:avLst/>
          </a:prstGeom>
          <a:ln w="28575" cmpd="sng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4435E3C0-EB90-4FE2-B65D-89EC8153A1A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958881" y="4410870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DB2B53B7-E07F-4947-A52B-FE3215B2A325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958881" y="1398366"/>
            <a:ext cx="1374840" cy="112788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105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1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2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point -3</a:t>
            </a:r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  <p:sp>
        <p:nvSpPr>
          <p:cNvPr id="146" name="Text Placeholder 40">
            <a:extLst>
              <a:ext uri="{FF2B5EF4-FFF2-40B4-BE49-F238E27FC236}">
                <a16:creationId xmlns:a16="http://schemas.microsoft.com/office/drawing/2014/main" id="{14AFF63D-33D4-4947-80C4-2F87581CFFB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755873" y="3181121"/>
            <a:ext cx="823977" cy="706731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0" indent="0" algn="ctr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r-</a:t>
            </a:r>
            <a:br>
              <a:rPr lang="en-US" dirty="0"/>
            </a:br>
            <a:r>
              <a:rPr lang="en-US" dirty="0"/>
              <a:t>Apr</a:t>
            </a:r>
          </a:p>
        </p:txBody>
      </p:sp>
      <p:sp>
        <p:nvSpPr>
          <p:cNvPr id="147" name="Text Placeholder 40">
            <a:extLst>
              <a:ext uri="{FF2B5EF4-FFF2-40B4-BE49-F238E27FC236}">
                <a16:creationId xmlns:a16="http://schemas.microsoft.com/office/drawing/2014/main" id="{ADEB00F6-EFE7-444C-976E-B3895813BF7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157036" y="3181121"/>
            <a:ext cx="823977" cy="706731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0" indent="0" algn="ctr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y-</a:t>
            </a:r>
            <a:br>
              <a:rPr lang="en-US" dirty="0"/>
            </a:br>
            <a:r>
              <a:rPr lang="en-US" dirty="0"/>
              <a:t>Jun</a:t>
            </a:r>
          </a:p>
        </p:txBody>
      </p:sp>
      <p:sp>
        <p:nvSpPr>
          <p:cNvPr id="148" name="Text Placeholder 40">
            <a:extLst>
              <a:ext uri="{FF2B5EF4-FFF2-40B4-BE49-F238E27FC236}">
                <a16:creationId xmlns:a16="http://schemas.microsoft.com/office/drawing/2014/main" id="{FCF52220-21B2-416E-8DED-C47EB5E5CF1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724852" y="3181121"/>
            <a:ext cx="823977" cy="706731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0" indent="0" algn="ctr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Jul-</a:t>
            </a:r>
            <a:br>
              <a:rPr lang="en-US" dirty="0"/>
            </a:br>
            <a:r>
              <a:rPr lang="en-US" dirty="0"/>
              <a:t>Aug</a:t>
            </a:r>
          </a:p>
        </p:txBody>
      </p:sp>
      <p:sp>
        <p:nvSpPr>
          <p:cNvPr id="149" name="Text Placeholder 40">
            <a:extLst>
              <a:ext uri="{FF2B5EF4-FFF2-40B4-BE49-F238E27FC236}">
                <a16:creationId xmlns:a16="http://schemas.microsoft.com/office/drawing/2014/main" id="{6491A55D-469E-4739-AA4C-EF4D6426892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35742" y="3181120"/>
            <a:ext cx="823977" cy="706731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0" indent="0" algn="ctr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ep-</a:t>
            </a:r>
            <a:br>
              <a:rPr lang="en-US" dirty="0"/>
            </a:br>
            <a:r>
              <a:rPr lang="en-US" dirty="0"/>
              <a:t>Oct</a:t>
            </a:r>
          </a:p>
        </p:txBody>
      </p:sp>
      <p:sp>
        <p:nvSpPr>
          <p:cNvPr id="150" name="Text Placeholder 40">
            <a:extLst>
              <a:ext uri="{FF2B5EF4-FFF2-40B4-BE49-F238E27FC236}">
                <a16:creationId xmlns:a16="http://schemas.microsoft.com/office/drawing/2014/main" id="{43612B51-B694-4C96-9D01-BBFA2A67A5B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654891" y="3181120"/>
            <a:ext cx="823977" cy="706731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0" indent="0" algn="ctr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Nov-</a:t>
            </a:r>
            <a:br>
              <a:rPr lang="en-US" dirty="0"/>
            </a:br>
            <a:r>
              <a:rPr lang="en-US" dirty="0"/>
              <a:t>Dec</a:t>
            </a:r>
          </a:p>
        </p:txBody>
      </p:sp>
      <p:sp>
        <p:nvSpPr>
          <p:cNvPr id="151" name="Text Placeholder 40">
            <a:extLst>
              <a:ext uri="{FF2B5EF4-FFF2-40B4-BE49-F238E27FC236}">
                <a16:creationId xmlns:a16="http://schemas.microsoft.com/office/drawing/2014/main" id="{D811CF7A-C587-4653-B7B9-10F63CA4837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0234312" y="3181119"/>
            <a:ext cx="823977" cy="706731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0" indent="0" algn="ctr">
              <a:buClr>
                <a:schemeClr val="tx1"/>
              </a:buClr>
              <a:buFont typeface="Arial" panose="020B0604020202020204" pitchFamily="34" charset="0"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4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Jan</a:t>
            </a:r>
            <a:br>
              <a:rPr lang="en-US" dirty="0"/>
            </a:br>
            <a:r>
              <a:rPr lang="en-US" dirty="0"/>
              <a:t>xx’</a:t>
            </a:r>
          </a:p>
        </p:txBody>
      </p:sp>
    </p:spTree>
    <p:extLst>
      <p:ext uri="{BB962C8B-B14F-4D97-AF65-F5344CB8AC3E}">
        <p14:creationId xmlns:p14="http://schemas.microsoft.com/office/powerpoint/2010/main" val="23756504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- 6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AC85E0-07B5-5E42-942C-BD102F47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76962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DA6550C-5E96-428A-BDC9-6E2A8CE931F3}"/>
              </a:ext>
            </a:extLst>
          </p:cNvPr>
          <p:cNvSpPr/>
          <p:nvPr/>
        </p:nvSpPr>
        <p:spPr>
          <a:xfrm>
            <a:off x="446516" y="6290462"/>
            <a:ext cx="1038384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prietary and Confidential</a:t>
            </a:r>
          </a:p>
        </p:txBody>
      </p:sp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B3373D41-CFEA-483F-9DA0-717287E565F4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272235914"/>
              </p:ext>
            </p:extLst>
          </p:nvPr>
        </p:nvGraphicFramePr>
        <p:xfrm>
          <a:off x="528813" y="1415052"/>
          <a:ext cx="11415735" cy="4260839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2088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55841601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1994489964"/>
                    </a:ext>
                  </a:extLst>
                </a:gridCol>
              </a:tblGrid>
              <a:tr h="630073">
                <a:tc>
                  <a:txBody>
                    <a:bodyPr/>
                    <a:lstStyle/>
                    <a:p>
                      <a:pPr marL="0" marR="0" lvl="0" indent="0" algn="ctr" defTabSz="4750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1" u="none" strike="noStrike" baseline="0" dirty="0">
                        <a:solidFill>
                          <a:schemeClr val="accent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1148" marR="41148" marT="20574" marB="20574" anchor="ctr">
                    <a:lnL>
                      <a:noFill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br>
                        <a:rPr lang="en-US" sz="8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</a:br>
                      <a:endParaRPr 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6634"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accent6"/>
                        </a:solidFill>
                        <a:latin typeface="+mj-lt"/>
                      </a:endParaRPr>
                    </a:p>
                  </a:txBody>
                  <a:tcPr marL="41148" marR="41148" marT="20574" marB="20574" vert="vert27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700" b="1" dirty="0"/>
                    </a:p>
                  </a:txBody>
                  <a:tcPr marL="41148" marR="41148" marT="20574" marB="205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700" b="1" dirty="0"/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67066">
                <a:tc>
                  <a:txBody>
                    <a:bodyPr/>
                    <a:lstStyle/>
                    <a:p>
                      <a:pPr algn="ctr"/>
                      <a:endParaRPr lang="en-US" sz="700" b="1" kern="1200" dirty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1148" marR="41148" marT="20574" marB="20574" vert="vert27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486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dirty="0">
                        <a:latin typeface="Arial Narrow" panose="020B0606020202030204" pitchFamily="34" charset="0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700" b="1" dirty="0">
                        <a:solidFill>
                          <a:schemeClr val="bg1"/>
                        </a:solidFill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700" b="1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accent6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67066">
                <a:tc>
                  <a:txBody>
                    <a:bodyPr/>
                    <a:lstStyle/>
                    <a:p>
                      <a:pPr algn="ctr"/>
                      <a:endParaRPr lang="en-US" sz="700" b="1" kern="1200" dirty="0">
                        <a:solidFill>
                          <a:schemeClr val="accent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1148" marR="41148" marT="20574" marB="20574" vert="vert27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/>
                    </a:p>
                  </a:txBody>
                  <a:tcPr marL="41148" marR="41148" marT="20574" marB="2057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/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600" b="1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41148" marR="41148" marT="20574" marB="20574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3" name="Text Placeholder 40">
            <a:extLst>
              <a:ext uri="{FF2B5EF4-FFF2-40B4-BE49-F238E27FC236}">
                <a16:creationId xmlns:a16="http://schemas.microsoft.com/office/drawing/2014/main" id="{0159547A-A816-4188-BD71-7564E2BD48B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603893" y="1415052"/>
            <a:ext cx="1538449" cy="663277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AE0E1E14-4574-4599-8DFB-D7CAC3A7461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142342" y="1415051"/>
            <a:ext cx="1538449" cy="663277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25" name="Text Placeholder 40">
            <a:extLst>
              <a:ext uri="{FF2B5EF4-FFF2-40B4-BE49-F238E27FC236}">
                <a16:creationId xmlns:a16="http://schemas.microsoft.com/office/drawing/2014/main" id="{D6F7F6A3-A758-472A-B633-63D99CB87EC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704000" y="1415051"/>
            <a:ext cx="1538449" cy="663277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26" name="Text Placeholder 40">
            <a:extLst>
              <a:ext uri="{FF2B5EF4-FFF2-40B4-BE49-F238E27FC236}">
                <a16:creationId xmlns:a16="http://schemas.microsoft.com/office/drawing/2014/main" id="{8CCB4838-C51D-4D9C-8178-DE290340551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62616" y="1415051"/>
            <a:ext cx="1538449" cy="663277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CCD2B6C4-CEAB-4310-82F4-5DEF00B7AFF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1065" y="1424446"/>
            <a:ext cx="1538449" cy="663277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28" name="Text Placeholder 40">
            <a:extLst>
              <a:ext uri="{FF2B5EF4-FFF2-40B4-BE49-F238E27FC236}">
                <a16:creationId xmlns:a16="http://schemas.microsoft.com/office/drawing/2014/main" id="{FCC9AFB2-0993-46A9-884B-1A1131BC428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359681" y="1415050"/>
            <a:ext cx="1538449" cy="663277"/>
          </a:xfrm>
        </p:spPr>
        <p:txBody>
          <a:bodyPr anchor="ctr">
            <a:noAutofit/>
          </a:bodyPr>
          <a:lstStyle>
            <a:lvl1pPr marL="0" indent="0" algn="ctr">
              <a:buClr>
                <a:schemeClr val="accent3"/>
              </a:buClr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XX’ – XX’</a:t>
            </a:r>
          </a:p>
        </p:txBody>
      </p:sp>
      <p:sp>
        <p:nvSpPr>
          <p:cNvPr id="29" name="Text Placeholder 40">
            <a:extLst>
              <a:ext uri="{FF2B5EF4-FFF2-40B4-BE49-F238E27FC236}">
                <a16:creationId xmlns:a16="http://schemas.microsoft.com/office/drawing/2014/main" id="{5D519C54-9F63-4120-B78C-1C80ADCDE40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1699163" y="2484316"/>
            <a:ext cx="1184288" cy="417011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 Category</a:t>
            </a:r>
            <a:br>
              <a:rPr lang="en-US" dirty="0"/>
            </a:br>
            <a:r>
              <a:rPr lang="en-US" dirty="0"/>
              <a:t> Goes Here</a:t>
            </a:r>
          </a:p>
        </p:txBody>
      </p:sp>
      <p:sp>
        <p:nvSpPr>
          <p:cNvPr id="30" name="Text Placeholder 40">
            <a:extLst>
              <a:ext uri="{FF2B5EF4-FFF2-40B4-BE49-F238E27FC236}">
                <a16:creationId xmlns:a16="http://schemas.microsoft.com/office/drawing/2014/main" id="{E334F2FD-17CC-4E14-9129-D666D2C67A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16200000">
            <a:off x="1738599" y="3722649"/>
            <a:ext cx="1105418" cy="417013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Arial" panose="020B0604020202020204" pitchFamily="34" charset="0"/>
              <a:buNone/>
              <a:defRPr sz="1100" b="1">
                <a:solidFill>
                  <a:schemeClr val="tx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 Category</a:t>
            </a:r>
            <a:br>
              <a:rPr lang="en-US" dirty="0"/>
            </a:br>
            <a:r>
              <a:rPr lang="en-US" dirty="0"/>
              <a:t> Goes Here</a:t>
            </a:r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272CC921-97EE-42FE-8471-6586C6D3312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6200000">
            <a:off x="1738598" y="4921547"/>
            <a:ext cx="1105418" cy="417013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Arial" panose="020B0604020202020204" pitchFamily="34" charset="0"/>
              <a:buNone/>
              <a:defRPr sz="11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 Category</a:t>
            </a:r>
            <a:br>
              <a:rPr lang="en-US" dirty="0"/>
            </a:br>
            <a:r>
              <a:rPr lang="en-US" dirty="0"/>
              <a:t> Goes Here</a:t>
            </a:r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9FD3453E-C310-4634-BA38-201ECA12D8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8813" y="1424446"/>
            <a:ext cx="2051871" cy="582599"/>
          </a:xfrm>
        </p:spPr>
        <p:txBody>
          <a:bodyPr>
            <a:noAutofit/>
          </a:bodyPr>
          <a:lstStyle>
            <a:lvl1pPr marL="228600" indent="-228600">
              <a:buClr>
                <a:schemeClr val="accent3"/>
              </a:buClr>
              <a:buFont typeface="Arial" panose="020B0604020202020204" pitchFamily="34" charset="0"/>
              <a:buChar char="⁄"/>
              <a:defRPr sz="1400" b="1">
                <a:solidFill>
                  <a:schemeClr val="accent1"/>
                </a:solidFill>
                <a:latin typeface="+mj-lt"/>
              </a:defRPr>
            </a:lvl1pPr>
            <a:lvl2pPr marL="274320" indent="-182880">
              <a:lnSpc>
                <a:spcPct val="200000"/>
              </a:lnSpc>
              <a:defRPr sz="1000">
                <a:solidFill>
                  <a:schemeClr val="tx1"/>
                </a:solidFill>
                <a:latin typeface="+mj-lt"/>
              </a:defRPr>
            </a:lvl2pPr>
            <a:lvl3pPr>
              <a:defRPr sz="1400">
                <a:solidFill>
                  <a:schemeClr val="accent1"/>
                </a:solidFill>
                <a:latin typeface="+mj-lt"/>
              </a:defRPr>
            </a:lvl3pPr>
            <a:lvl4pPr>
              <a:defRPr sz="1400">
                <a:solidFill>
                  <a:schemeClr val="accent1"/>
                </a:solidFill>
                <a:latin typeface="+mj-lt"/>
              </a:defRPr>
            </a:lvl4pPr>
            <a:lvl5pPr>
              <a:defRPr sz="1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Main Statement Goes Her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AD6EB8E7-E46A-4C85-B485-37205E4662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01597" y="2236512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9E5BD7C5-EF61-4A90-A0DF-50A79045EC2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240046" y="2236512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5848A1D2-EFF0-4599-860B-983E51E91EB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801704" y="2238451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4F918282-A807-4896-96E4-B3ACD9F74B0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363362" y="2236512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D730F6D8-A6ED-41D9-AA27-C47ED7540CF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901811" y="2245985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24992D6F-B8E9-4C7C-8091-9EF5CCBEA2F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0520491" y="2245985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C3F91C6B-506C-47ED-A7F1-59B5C0FB3AC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736197" y="3459038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E269D147-0C1F-4318-9BA9-29D08D2FBCA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74646" y="3459038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8B77531A-8328-433C-8EDD-326D48A452B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836304" y="3460977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79249ED1-241C-4ACB-BAF0-0480F3B064A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397962" y="3459038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D8D49F9A-15DE-49E4-9700-932F895065D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936411" y="3468511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4C47B7E2-056B-4E2F-AB4B-53BB41AF8C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555091" y="3468511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B779A012-E9E4-4A5E-9AFD-9E1B06CE1E2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01597" y="4619531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CAB614CA-2735-4943-9E17-547B5ACCC1F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240046" y="4619531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235309EA-A0B2-41E8-B25B-987BED0F6D7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01704" y="4621470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4B06D315-456B-4D31-88D7-96DB73D44C8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63362" y="4619531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A93C705-AE3F-47A6-9F2D-E8F225457F6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901811" y="4629004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A4D98375-A953-4D3C-B9CB-2EF0B96A5EA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0520491" y="4629004"/>
            <a:ext cx="1343039" cy="912617"/>
          </a:xfrm>
        </p:spPr>
        <p:txBody>
          <a:bodyPr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2pPr>
            <a:lvl3pPr>
              <a:spcBef>
                <a:spcPts val="200"/>
              </a:spcBef>
              <a:spcAft>
                <a:spcPts val="200"/>
              </a:spcAft>
              <a:defRPr sz="1400">
                <a:latin typeface="+mj-lt"/>
              </a:defRPr>
            </a:lvl3pPr>
          </a:lstStyle>
          <a:p>
            <a:pPr lvl="0"/>
            <a:r>
              <a:rPr lang="en-US" dirty="0"/>
              <a:t>Bullet Point -1</a:t>
            </a:r>
          </a:p>
          <a:p>
            <a:pPr lvl="0"/>
            <a:r>
              <a:rPr lang="en-US" dirty="0"/>
              <a:t>Bullet Point -2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37C3EB2A-FB1A-4FF6-AAC1-1CBF4A741800}"/>
              </a:ext>
            </a:extLst>
          </p:cNvPr>
          <p:cNvSpPr txBox="1">
            <a:spLocks/>
          </p:cNvSpPr>
          <p:nvPr userDrawn="1"/>
        </p:nvSpPr>
        <p:spPr>
          <a:xfrm>
            <a:off x="1174177" y="11575"/>
            <a:ext cx="10515602" cy="1307184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6835146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a_Cover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7CD028-51B1-B449-96A7-B041C102C91E}"/>
              </a:ext>
            </a:extLst>
          </p:cNvPr>
          <p:cNvSpPr/>
          <p:nvPr/>
        </p:nvSpPr>
        <p:spPr>
          <a:xfrm>
            <a:off x="0" y="-5104"/>
            <a:ext cx="12192000" cy="685881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2C90E20-1603-CD4B-8F38-B66B4DC4C633}"/>
              </a:ext>
            </a:extLst>
          </p:cNvPr>
          <p:cNvSpPr>
            <a:spLocks noChangeAspect="1"/>
          </p:cNvSpPr>
          <p:nvPr/>
        </p:nvSpPr>
        <p:spPr>
          <a:xfrm rot="16200000">
            <a:off x="8933806" y="3591923"/>
            <a:ext cx="3200400" cy="3331754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CB53686-494E-8948-9927-680C0C6FD9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64803" y="530712"/>
            <a:ext cx="2099015" cy="518071"/>
          </a:xfrm>
          <a:prstGeom prst="rect">
            <a:avLst/>
          </a:prstGeom>
        </p:spPr>
      </p:pic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7EFDF70-CAD3-704F-BDBE-A7367250F34F}"/>
              </a:ext>
            </a:extLst>
          </p:cNvPr>
          <p:cNvSpPr>
            <a:spLocks noChangeAspect="1"/>
          </p:cNvSpPr>
          <p:nvPr/>
        </p:nvSpPr>
        <p:spPr>
          <a:xfrm rot="5400000">
            <a:off x="36050" y="-36049"/>
            <a:ext cx="1756700" cy="1828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B2C1824-187D-3246-AF41-33959E022B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00200" y="1828800"/>
            <a:ext cx="5722310" cy="1595504"/>
          </a:xfrm>
        </p:spPr>
        <p:txBody>
          <a:bodyPr lIns="0" tIns="0" rIns="0" bIns="0" anchor="b" anchorCtr="0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E2C02B9-949A-5744-B34F-00C5701C1E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00200" y="3657600"/>
            <a:ext cx="5722310" cy="77822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 b="1" cap="none" baseline="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</a:t>
            </a:r>
          </a:p>
        </p:txBody>
      </p:sp>
      <p:sp>
        <p:nvSpPr>
          <p:cNvPr id="16" name="Content Placeholder 17">
            <a:extLst>
              <a:ext uri="{FF2B5EF4-FFF2-40B4-BE49-F238E27FC236}">
                <a16:creationId xmlns:a16="http://schemas.microsoft.com/office/drawing/2014/main" id="{917FF801-CED1-4F45-B2D6-9E4D1E233E3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00200" y="5486400"/>
            <a:ext cx="2640012" cy="63779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3">
            <a:extLst>
              <a:ext uri="{FF2B5EF4-FFF2-40B4-BE49-F238E27FC236}">
                <a16:creationId xmlns:a16="http://schemas.microsoft.com/office/drawing/2014/main" id="{9A790363-B46C-CB4B-90D7-BA15DD0F780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00200" y="4572000"/>
            <a:ext cx="2862262" cy="7572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2ACFAAE2-5457-0941-855F-C18A674E30A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00267" y="521548"/>
            <a:ext cx="1964545" cy="5364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D950C61-DAA6-074D-B075-1240136985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84124" y="521548"/>
            <a:ext cx="1964545" cy="5364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1585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a_Heads &amp; Text + Photo Bann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42885DA2-8FA8-4D42-BA62-A0ADF82328BA}"/>
              </a:ext>
            </a:extLst>
          </p:cNvPr>
          <p:cNvSpPr/>
          <p:nvPr/>
        </p:nvSpPr>
        <p:spPr>
          <a:xfrm rot="16200000">
            <a:off x="10377051" y="-42226"/>
            <a:ext cx="1787236" cy="18605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F835328-23E1-495C-BD48-BACF7DE833CF}"/>
              </a:ext>
            </a:extLst>
          </p:cNvPr>
          <p:cNvSpPr/>
          <p:nvPr/>
        </p:nvSpPr>
        <p:spPr>
          <a:xfrm rot="5400000">
            <a:off x="23147" y="-23146"/>
            <a:ext cx="1127885" cy="11741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515" y="6165347"/>
            <a:ext cx="1636284" cy="40146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D694463-EA68-0A4D-BB10-B2B538C7A9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2028821"/>
            <a:ext cx="10972799" cy="757913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F0873DD-7BE8-437C-ABED-0D4D51C1CA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786733"/>
            <a:ext cx="10972799" cy="33253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b="1">
                <a:solidFill>
                  <a:schemeClr val="bg2"/>
                </a:solidFill>
                <a:latin typeface="+mj-lt"/>
              </a:defRPr>
            </a:lvl1pPr>
            <a:lvl2pPr marL="36576" indent="0">
              <a:lnSpc>
                <a:spcPct val="100000"/>
              </a:lnSpc>
              <a:spcBef>
                <a:spcPts val="12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457200">
              <a:lnSpc>
                <a:spcPct val="100000"/>
              </a:lnSpc>
              <a:buClr>
                <a:schemeClr val="bg2"/>
              </a:buClr>
              <a:defRPr>
                <a:solidFill>
                  <a:schemeClr val="bg1"/>
                </a:solidFill>
              </a:defRPr>
            </a:lvl3pPr>
            <a:lvl4pPr marL="742950" indent="-285750">
              <a:lnSpc>
                <a:spcPct val="10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</a:defRPr>
            </a:lvl4pPr>
            <a:lvl5pPr marL="914400" indent="-228600">
              <a:lnSpc>
                <a:spcPct val="100000"/>
              </a:lnSpc>
              <a:buClr>
                <a:schemeClr val="bg2"/>
              </a:buClr>
              <a:buSzPct val="90000"/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(heading)</a:t>
            </a:r>
          </a:p>
          <a:p>
            <a:pPr lvl="1"/>
            <a:r>
              <a:rPr lang="en-US" dirty="0"/>
              <a:t>Second level (text)</a:t>
            </a:r>
          </a:p>
          <a:p>
            <a:pPr lvl="2"/>
            <a:r>
              <a:rPr lang="en-US" dirty="0"/>
              <a:t>Third level (bullets) 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CCC0F5A9-3F1B-4CC6-B00D-21B4CDF0BC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3327" y="-10274"/>
            <a:ext cx="12225326" cy="1781687"/>
          </a:xfrm>
          <a:custGeom>
            <a:avLst/>
            <a:gdLst>
              <a:gd name="connsiteX0" fmla="*/ 0 w 12192000"/>
              <a:gd name="connsiteY0" fmla="*/ 0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0 w 12192000"/>
              <a:gd name="connsiteY4" fmla="*/ 0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1113906 w 12192000"/>
              <a:gd name="connsiteY4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374073 w 12192000"/>
              <a:gd name="connsiteY4" fmla="*/ 1172095 h 1787525"/>
              <a:gd name="connsiteX5" fmla="*/ 1113906 w 12192000"/>
              <a:gd name="connsiteY5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8313 w 12192000"/>
              <a:gd name="connsiteY4" fmla="*/ 1113905 h 1787525"/>
              <a:gd name="connsiteX5" fmla="*/ 1113906 w 12192000"/>
              <a:gd name="connsiteY5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0354887 w 12192000"/>
              <a:gd name="connsiteY2" fmla="*/ 1787525 h 1787525"/>
              <a:gd name="connsiteX3" fmla="*/ 0 w 12192000"/>
              <a:gd name="connsiteY3" fmla="*/ 1787525 h 1787525"/>
              <a:gd name="connsiteX4" fmla="*/ 8313 w 12192000"/>
              <a:gd name="connsiteY4" fmla="*/ 1113905 h 1787525"/>
              <a:gd name="connsiteX5" fmla="*/ 1113906 w 12192000"/>
              <a:gd name="connsiteY5" fmla="*/ 8313 h 178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787525">
                <a:moveTo>
                  <a:pt x="1113906" y="8313"/>
                </a:moveTo>
                <a:lnTo>
                  <a:pt x="12192000" y="0"/>
                </a:lnTo>
                <a:lnTo>
                  <a:pt x="10354887" y="1787525"/>
                </a:lnTo>
                <a:lnTo>
                  <a:pt x="0" y="1787525"/>
                </a:lnTo>
                <a:lnTo>
                  <a:pt x="8313" y="1113905"/>
                </a:lnTo>
                <a:lnTo>
                  <a:pt x="1113906" y="8313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800"/>
            </a:lvl1pPr>
          </a:lstStyle>
          <a:p>
            <a:r>
              <a:rPr lang="en-US" dirty="0"/>
              <a:t>Click icon to replace photo, or leave as is</a:t>
            </a:r>
          </a:p>
        </p:txBody>
      </p:sp>
    </p:spTree>
    <p:extLst>
      <p:ext uri="{BB962C8B-B14F-4D97-AF65-F5344CB8AC3E}">
        <p14:creationId xmlns:p14="http://schemas.microsoft.com/office/powerpoint/2010/main" val="39843031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d_Section Open Full Photo TB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-9428" y="-11575"/>
            <a:ext cx="12201427" cy="6869575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13121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31217 w 12192000"/>
              <a:gd name="connsiteY4" fmla="*/ 0 h 6858000"/>
              <a:gd name="connsiteX0" fmla="*/ 113121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914400 w 12192000"/>
              <a:gd name="connsiteY4" fmla="*/ 1357460 h 6858000"/>
              <a:gd name="connsiteX5" fmla="*/ 1131217 w 12192000"/>
              <a:gd name="connsiteY5" fmla="*/ 0 h 6858000"/>
              <a:gd name="connsiteX0" fmla="*/ 1140644 w 12201427"/>
              <a:gd name="connsiteY0" fmla="*/ 0 h 6858000"/>
              <a:gd name="connsiteX1" fmla="*/ 12201427 w 12201427"/>
              <a:gd name="connsiteY1" fmla="*/ 0 h 6858000"/>
              <a:gd name="connsiteX2" fmla="*/ 12201427 w 12201427"/>
              <a:gd name="connsiteY2" fmla="*/ 6858000 h 6858000"/>
              <a:gd name="connsiteX3" fmla="*/ 9427 w 12201427"/>
              <a:gd name="connsiteY3" fmla="*/ 6858000 h 6858000"/>
              <a:gd name="connsiteX4" fmla="*/ 0 w 12201427"/>
              <a:gd name="connsiteY4" fmla="*/ 1121790 h 6858000"/>
              <a:gd name="connsiteX5" fmla="*/ 1140644 w 12201427"/>
              <a:gd name="connsiteY5" fmla="*/ 0 h 6858000"/>
              <a:gd name="connsiteX0" fmla="*/ 1140644 w 12201427"/>
              <a:gd name="connsiteY0" fmla="*/ 0 h 6858000"/>
              <a:gd name="connsiteX1" fmla="*/ 12201427 w 12201427"/>
              <a:gd name="connsiteY1" fmla="*/ 0 h 6858000"/>
              <a:gd name="connsiteX2" fmla="*/ 12201427 w 12201427"/>
              <a:gd name="connsiteY2" fmla="*/ 5114041 h 6858000"/>
              <a:gd name="connsiteX3" fmla="*/ 9427 w 12201427"/>
              <a:gd name="connsiteY3" fmla="*/ 6858000 h 6858000"/>
              <a:gd name="connsiteX4" fmla="*/ 0 w 12201427"/>
              <a:gd name="connsiteY4" fmla="*/ 1121790 h 6858000"/>
              <a:gd name="connsiteX5" fmla="*/ 1140644 w 12201427"/>
              <a:gd name="connsiteY5" fmla="*/ 0 h 6858000"/>
              <a:gd name="connsiteX0" fmla="*/ 1140644 w 12201427"/>
              <a:gd name="connsiteY0" fmla="*/ 0 h 6858000"/>
              <a:gd name="connsiteX1" fmla="*/ 12201427 w 12201427"/>
              <a:gd name="connsiteY1" fmla="*/ 0 h 6858000"/>
              <a:gd name="connsiteX2" fmla="*/ 12201427 w 12201427"/>
              <a:gd name="connsiteY2" fmla="*/ 5114041 h 6858000"/>
              <a:gd name="connsiteX3" fmla="*/ 9907572 w 12201427"/>
              <a:gd name="connsiteY3" fmla="*/ 5429839 h 6858000"/>
              <a:gd name="connsiteX4" fmla="*/ 9427 w 12201427"/>
              <a:gd name="connsiteY4" fmla="*/ 6858000 h 6858000"/>
              <a:gd name="connsiteX5" fmla="*/ 0 w 12201427"/>
              <a:gd name="connsiteY5" fmla="*/ 1121790 h 6858000"/>
              <a:gd name="connsiteX6" fmla="*/ 1140644 w 12201427"/>
              <a:gd name="connsiteY6" fmla="*/ 0 h 6858000"/>
              <a:gd name="connsiteX0" fmla="*/ 1140644 w 12201427"/>
              <a:gd name="connsiteY0" fmla="*/ 0 h 6858000"/>
              <a:gd name="connsiteX1" fmla="*/ 12201427 w 12201427"/>
              <a:gd name="connsiteY1" fmla="*/ 0 h 6858000"/>
              <a:gd name="connsiteX2" fmla="*/ 12201427 w 12201427"/>
              <a:gd name="connsiteY2" fmla="*/ 5114041 h 6858000"/>
              <a:gd name="connsiteX3" fmla="*/ 10350632 w 12201427"/>
              <a:gd name="connsiteY3" fmla="*/ 6853286 h 6858000"/>
              <a:gd name="connsiteX4" fmla="*/ 9427 w 12201427"/>
              <a:gd name="connsiteY4" fmla="*/ 6858000 h 6858000"/>
              <a:gd name="connsiteX5" fmla="*/ 0 w 12201427"/>
              <a:gd name="connsiteY5" fmla="*/ 1121790 h 6858000"/>
              <a:gd name="connsiteX6" fmla="*/ 1140644 w 12201427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1427" h="6858000">
                <a:moveTo>
                  <a:pt x="1140644" y="0"/>
                </a:moveTo>
                <a:lnTo>
                  <a:pt x="12201427" y="0"/>
                </a:lnTo>
                <a:lnTo>
                  <a:pt x="12201427" y="5114041"/>
                </a:lnTo>
                <a:lnTo>
                  <a:pt x="10350632" y="6853286"/>
                </a:lnTo>
                <a:lnTo>
                  <a:pt x="9427" y="6858000"/>
                </a:lnTo>
                <a:cubicBezTo>
                  <a:pt x="6285" y="4945930"/>
                  <a:pt x="3142" y="3033860"/>
                  <a:pt x="0" y="1121790"/>
                </a:cubicBezTo>
                <a:lnTo>
                  <a:pt x="1140644" y="0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843496"/>
            <a:ext cx="10363200" cy="15001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800" b="1" baseline="0">
                <a:solidFill>
                  <a:srgbClr val="046B5C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pener Slide With Full Phot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2AC4440-30C1-442E-8A14-02316E62111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515" y="6172465"/>
            <a:ext cx="1636284" cy="387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5567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f_Bullets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174177" y="1439971"/>
            <a:ext cx="10515602" cy="424899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</a:defRPr>
            </a:lvl2pPr>
            <a:lvl3pPr marL="914400" indent="-228600">
              <a:lnSpc>
                <a:spcPct val="100000"/>
              </a:lnSpc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</a:defRPr>
            </a:lvl3pPr>
            <a:lvl4pPr marL="1188720">
              <a:lnSpc>
                <a:spcPct val="100000"/>
              </a:lnSpc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 marL="1463040" indent="-228600">
              <a:lnSpc>
                <a:spcPct val="100000"/>
              </a:lnSpc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A4D2CAA-39C0-4ACD-80E5-31E489C6059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515" y="6172465"/>
            <a:ext cx="1636284" cy="38722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2048433-C5C7-4336-BF97-E8290DC17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177" y="190596"/>
            <a:ext cx="10598096" cy="663277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554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Open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68086" y="5034087"/>
            <a:ext cx="1787236" cy="1860589"/>
          </a:xfrm>
          <a:prstGeom prst="rtTriangle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33D3675-199C-459D-BA77-0879BE6A46B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A4FB754-6B52-47FB-A383-D8C7B93176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09686" y="2678906"/>
            <a:ext cx="10363200" cy="15001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Slide Text Only</a:t>
            </a:r>
          </a:p>
        </p:txBody>
      </p:sp>
    </p:spTree>
    <p:extLst>
      <p:ext uri="{BB962C8B-B14F-4D97-AF65-F5344CB8AC3E}">
        <p14:creationId xmlns:p14="http://schemas.microsoft.com/office/powerpoint/2010/main" val="5605744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E46B28-38F7-41C5-851D-64B8BE43F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1236E4-907D-410A-BCF3-74A284C965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73E7CB-34B5-4543-A27B-24533DCC6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7C010-723E-44A6-A5E0-59F2B17490DC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3E397-1860-44C8-9DFE-371C3B43E7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B21E25-8D42-4BE6-B14E-6B7140CB4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1426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455898-D25C-4349-8BA2-D520C6513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B3BEEB-4C36-4FEE-91C4-E2BCBD059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583AD5-94AB-42D4-A12B-30E5931A00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7C010-723E-44A6-A5E0-59F2B17490DC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7F953B-2B80-4BF3-A7F6-F60D0C78D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2C2CF9-D5C5-40A0-BB6A-BBED83406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3388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Ope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09916" y="3180384"/>
            <a:ext cx="10363200" cy="15001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="1" baseline="0">
                <a:solidFill>
                  <a:srgbClr val="046B5C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Slide With Photo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entagon 5"/>
          <p:cNvSpPr/>
          <p:nvPr/>
        </p:nvSpPr>
        <p:spPr>
          <a:xfrm flipH="1">
            <a:off x="308110" y="-2"/>
            <a:ext cx="2226365" cy="1787237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entagon 18"/>
          <p:cNvSpPr/>
          <p:nvPr/>
        </p:nvSpPr>
        <p:spPr>
          <a:xfrm flipH="1">
            <a:off x="308110" y="-2"/>
            <a:ext cx="2226365" cy="1787237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77051" y="-27712"/>
            <a:ext cx="1787236" cy="1860589"/>
          </a:xfrm>
          <a:prstGeom prst="rtTriangle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7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4484" y="-10373"/>
            <a:ext cx="12192000" cy="1787525"/>
          </a:xfrm>
          <a:custGeom>
            <a:avLst/>
            <a:gdLst>
              <a:gd name="connsiteX0" fmla="*/ 0 w 12192000"/>
              <a:gd name="connsiteY0" fmla="*/ 0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0 w 12192000"/>
              <a:gd name="connsiteY4" fmla="*/ 0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1113906 w 12192000"/>
              <a:gd name="connsiteY4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374073 w 12192000"/>
              <a:gd name="connsiteY4" fmla="*/ 1172095 h 1787525"/>
              <a:gd name="connsiteX5" fmla="*/ 1113906 w 12192000"/>
              <a:gd name="connsiteY5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8313 w 12192000"/>
              <a:gd name="connsiteY4" fmla="*/ 1113905 h 1787525"/>
              <a:gd name="connsiteX5" fmla="*/ 1113906 w 12192000"/>
              <a:gd name="connsiteY5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0354887 w 12192000"/>
              <a:gd name="connsiteY2" fmla="*/ 1787525 h 1787525"/>
              <a:gd name="connsiteX3" fmla="*/ 0 w 12192000"/>
              <a:gd name="connsiteY3" fmla="*/ 1787525 h 1787525"/>
              <a:gd name="connsiteX4" fmla="*/ 8313 w 12192000"/>
              <a:gd name="connsiteY4" fmla="*/ 1113905 h 1787525"/>
              <a:gd name="connsiteX5" fmla="*/ 1113906 w 12192000"/>
              <a:gd name="connsiteY5" fmla="*/ 8313 h 178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787525">
                <a:moveTo>
                  <a:pt x="1113906" y="8313"/>
                </a:moveTo>
                <a:lnTo>
                  <a:pt x="12192000" y="0"/>
                </a:lnTo>
                <a:lnTo>
                  <a:pt x="10354887" y="1787525"/>
                </a:lnTo>
                <a:lnTo>
                  <a:pt x="0" y="1787525"/>
                </a:lnTo>
                <a:lnTo>
                  <a:pt x="8313" y="1113905"/>
                </a:lnTo>
                <a:lnTo>
                  <a:pt x="1113906" y="8313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>
              <a:buFontTx/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Right Triangle 23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10377051" y="-42226"/>
            <a:ext cx="1787236" cy="1860589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ight Triangle 24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7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FDFB409-6F1E-459D-9C01-F3518CF634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6886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bann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D694463-EA68-0A4D-BB10-B2B538C7A9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515" y="2028821"/>
            <a:ext cx="11462456" cy="757913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A589897B-0740-427F-BFF7-ED248F09CF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484" y="-10373"/>
            <a:ext cx="12192000" cy="1787525"/>
          </a:xfrm>
          <a:custGeom>
            <a:avLst/>
            <a:gdLst>
              <a:gd name="connsiteX0" fmla="*/ 0 w 12192000"/>
              <a:gd name="connsiteY0" fmla="*/ 0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0 w 12192000"/>
              <a:gd name="connsiteY4" fmla="*/ 0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1113906 w 12192000"/>
              <a:gd name="connsiteY4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374073 w 12192000"/>
              <a:gd name="connsiteY4" fmla="*/ 1172095 h 1787525"/>
              <a:gd name="connsiteX5" fmla="*/ 1113906 w 12192000"/>
              <a:gd name="connsiteY5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2192000 w 12192000"/>
              <a:gd name="connsiteY2" fmla="*/ 1787525 h 1787525"/>
              <a:gd name="connsiteX3" fmla="*/ 0 w 12192000"/>
              <a:gd name="connsiteY3" fmla="*/ 1787525 h 1787525"/>
              <a:gd name="connsiteX4" fmla="*/ 8313 w 12192000"/>
              <a:gd name="connsiteY4" fmla="*/ 1113905 h 1787525"/>
              <a:gd name="connsiteX5" fmla="*/ 1113906 w 12192000"/>
              <a:gd name="connsiteY5" fmla="*/ 8313 h 1787525"/>
              <a:gd name="connsiteX0" fmla="*/ 1113906 w 12192000"/>
              <a:gd name="connsiteY0" fmla="*/ 8313 h 1787525"/>
              <a:gd name="connsiteX1" fmla="*/ 12192000 w 12192000"/>
              <a:gd name="connsiteY1" fmla="*/ 0 h 1787525"/>
              <a:gd name="connsiteX2" fmla="*/ 10354887 w 12192000"/>
              <a:gd name="connsiteY2" fmla="*/ 1787525 h 1787525"/>
              <a:gd name="connsiteX3" fmla="*/ 0 w 12192000"/>
              <a:gd name="connsiteY3" fmla="*/ 1787525 h 1787525"/>
              <a:gd name="connsiteX4" fmla="*/ 8313 w 12192000"/>
              <a:gd name="connsiteY4" fmla="*/ 1113905 h 1787525"/>
              <a:gd name="connsiteX5" fmla="*/ 1113906 w 12192000"/>
              <a:gd name="connsiteY5" fmla="*/ 8313 h 178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787525">
                <a:moveTo>
                  <a:pt x="1113906" y="8313"/>
                </a:moveTo>
                <a:lnTo>
                  <a:pt x="12192000" y="0"/>
                </a:lnTo>
                <a:lnTo>
                  <a:pt x="10354887" y="1787525"/>
                </a:lnTo>
                <a:lnTo>
                  <a:pt x="0" y="1787525"/>
                </a:lnTo>
                <a:lnTo>
                  <a:pt x="8313" y="1113905"/>
                </a:lnTo>
                <a:lnTo>
                  <a:pt x="1113906" y="8313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>
              <a:buFontTx/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42885DA2-8FA8-4D42-BA62-A0ADF82328BA}"/>
              </a:ext>
            </a:extLst>
          </p:cNvPr>
          <p:cNvSpPr/>
          <p:nvPr/>
        </p:nvSpPr>
        <p:spPr>
          <a:xfrm rot="16200000">
            <a:off x="10377051" y="-42226"/>
            <a:ext cx="1787236" cy="1860589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BF835328-23E1-495C-BD48-BACF7DE833CF}"/>
              </a:ext>
            </a:extLst>
          </p:cNvPr>
          <p:cNvSpPr/>
          <p:nvPr/>
        </p:nvSpPr>
        <p:spPr>
          <a:xfrm rot="5400000">
            <a:off x="23147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A7DE9D-3611-4684-984C-3C9B721883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515" y="2924986"/>
            <a:ext cx="11462456" cy="306986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E55B02-A0D8-4C31-AFFC-DE471613EB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13" y="6165347"/>
            <a:ext cx="1636288" cy="40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193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 bann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945DCE1-DE0A-A940-8763-4751C70359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515" y="6165347"/>
            <a:ext cx="1636284" cy="40146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9D694463-EA68-0A4D-BB10-B2B538C7A9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" y="2542923"/>
            <a:ext cx="11876314" cy="757913"/>
          </a:xfrm>
        </p:spPr>
        <p:txBody>
          <a:bodyPr lIns="0" tIns="0" rIns="0" bIns="0" anchor="ctr" anchorCtr="0">
            <a:normAutofit/>
          </a:bodyPr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0157AE-E61A-7346-A3E7-5BFCEA538998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rgbClr val="189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A589897B-0740-427F-BFF7-ED248F09CF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484" y="-10373"/>
            <a:ext cx="12192000" cy="2400077"/>
          </a:xfrm>
          <a:prstGeom prst="flowChartProcess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>
              <a:buFontTx/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A7DE9D-3611-4684-984C-3C9B721883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" y="3439088"/>
            <a:ext cx="11876314" cy="246344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6905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bar photo +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804990" y="5034087"/>
            <a:ext cx="1787236" cy="18605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7351DCA-2F72-7B49-84EF-95460BE7F4C3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804990" y="5034087"/>
            <a:ext cx="1787236" cy="1860589"/>
          </a:xfrm>
          <a:prstGeom prst="rt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7" y="-23146"/>
            <a:ext cx="1127885" cy="1174176"/>
          </a:xfrm>
          <a:prstGeom prst="rt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47064" y="-55457"/>
            <a:ext cx="1139160" cy="122752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7351DCA-2F72-7B49-84EF-95460BE7F4C3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73C7385A-C3AB-4048-B445-9CCEA3BE26B5}"/>
              </a:ext>
            </a:extLst>
          </p:cNvPr>
          <p:cNvSpPr/>
          <p:nvPr/>
        </p:nvSpPr>
        <p:spPr>
          <a:xfrm rot="16200000">
            <a:off x="804990" y="5034087"/>
            <a:ext cx="1787236" cy="1860589"/>
          </a:xfrm>
          <a:prstGeom prst="rt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ight Triangle 21">
            <a:extLst>
              <a:ext uri="{FF2B5EF4-FFF2-40B4-BE49-F238E27FC236}">
                <a16:creationId xmlns:a16="http://schemas.microsoft.com/office/drawing/2014/main" id="{95E04E22-0A8B-9E4F-B110-8614D9B13398}"/>
              </a:ext>
            </a:extLst>
          </p:cNvPr>
          <p:cNvSpPr/>
          <p:nvPr/>
        </p:nvSpPr>
        <p:spPr>
          <a:xfrm rot="5400000">
            <a:off x="23147" y="-23146"/>
            <a:ext cx="1127885" cy="1174176"/>
          </a:xfrm>
          <a:prstGeom prst="rt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-8311" y="0"/>
            <a:ext cx="2637213" cy="6865001"/>
          </a:xfrm>
          <a:custGeom>
            <a:avLst/>
            <a:gdLst>
              <a:gd name="connsiteX0" fmla="*/ 0 w 2628900"/>
              <a:gd name="connsiteY0" fmla="*/ 0 h 6858000"/>
              <a:gd name="connsiteX1" fmla="*/ 2628900 w 2628900"/>
              <a:gd name="connsiteY1" fmla="*/ 0 h 6858000"/>
              <a:gd name="connsiteX2" fmla="*/ 2628900 w 2628900"/>
              <a:gd name="connsiteY2" fmla="*/ 6858000 h 6858000"/>
              <a:gd name="connsiteX3" fmla="*/ 0 w 2628900"/>
              <a:gd name="connsiteY3" fmla="*/ 6858000 h 6858000"/>
              <a:gd name="connsiteX4" fmla="*/ 0 w 2628900"/>
              <a:gd name="connsiteY4" fmla="*/ 0 h 6858000"/>
              <a:gd name="connsiteX0" fmla="*/ 0 w 2628900"/>
              <a:gd name="connsiteY0" fmla="*/ 0 h 6858000"/>
              <a:gd name="connsiteX1" fmla="*/ 2628900 w 2628900"/>
              <a:gd name="connsiteY1" fmla="*/ 0 h 6858000"/>
              <a:gd name="connsiteX2" fmla="*/ 2628900 w 2628900"/>
              <a:gd name="connsiteY2" fmla="*/ 5104014 h 6858000"/>
              <a:gd name="connsiteX3" fmla="*/ 0 w 2628900"/>
              <a:gd name="connsiteY3" fmla="*/ 6858000 h 6858000"/>
              <a:gd name="connsiteX4" fmla="*/ 0 w 2628900"/>
              <a:gd name="connsiteY4" fmla="*/ 0 h 6858000"/>
              <a:gd name="connsiteX0" fmla="*/ 0 w 2628900"/>
              <a:gd name="connsiteY0" fmla="*/ 0 h 6858000"/>
              <a:gd name="connsiteX1" fmla="*/ 2628900 w 2628900"/>
              <a:gd name="connsiteY1" fmla="*/ 0 h 6858000"/>
              <a:gd name="connsiteX2" fmla="*/ 2628900 w 2628900"/>
              <a:gd name="connsiteY2" fmla="*/ 5104014 h 6858000"/>
              <a:gd name="connsiteX3" fmla="*/ 698269 w 2628900"/>
              <a:gd name="connsiteY3" fmla="*/ 6392487 h 6858000"/>
              <a:gd name="connsiteX4" fmla="*/ 0 w 2628900"/>
              <a:gd name="connsiteY4" fmla="*/ 6858000 h 6858000"/>
              <a:gd name="connsiteX5" fmla="*/ 0 w 2628900"/>
              <a:gd name="connsiteY5" fmla="*/ 0 h 6858000"/>
              <a:gd name="connsiteX0" fmla="*/ 0 w 2628900"/>
              <a:gd name="connsiteY0" fmla="*/ 0 h 6874626"/>
              <a:gd name="connsiteX1" fmla="*/ 2628900 w 2628900"/>
              <a:gd name="connsiteY1" fmla="*/ 0 h 6874626"/>
              <a:gd name="connsiteX2" fmla="*/ 2628900 w 2628900"/>
              <a:gd name="connsiteY2" fmla="*/ 5104014 h 6874626"/>
              <a:gd name="connsiteX3" fmla="*/ 748145 w 2628900"/>
              <a:gd name="connsiteY3" fmla="*/ 6874626 h 6874626"/>
              <a:gd name="connsiteX4" fmla="*/ 0 w 2628900"/>
              <a:gd name="connsiteY4" fmla="*/ 6858000 h 6874626"/>
              <a:gd name="connsiteX5" fmla="*/ 0 w 2628900"/>
              <a:gd name="connsiteY5" fmla="*/ 0 h 6874626"/>
              <a:gd name="connsiteX0" fmla="*/ 0 w 2637212"/>
              <a:gd name="connsiteY0" fmla="*/ 1113905 h 6874626"/>
              <a:gd name="connsiteX1" fmla="*/ 2637212 w 2637212"/>
              <a:gd name="connsiteY1" fmla="*/ 0 h 6874626"/>
              <a:gd name="connsiteX2" fmla="*/ 2637212 w 2637212"/>
              <a:gd name="connsiteY2" fmla="*/ 5104014 h 6874626"/>
              <a:gd name="connsiteX3" fmla="*/ 756457 w 2637212"/>
              <a:gd name="connsiteY3" fmla="*/ 6874626 h 6874626"/>
              <a:gd name="connsiteX4" fmla="*/ 8312 w 2637212"/>
              <a:gd name="connsiteY4" fmla="*/ 6858000 h 6874626"/>
              <a:gd name="connsiteX5" fmla="*/ 0 w 2637212"/>
              <a:gd name="connsiteY5" fmla="*/ 1113905 h 6874626"/>
              <a:gd name="connsiteX0" fmla="*/ 0 w 2637212"/>
              <a:gd name="connsiteY0" fmla="*/ 1113905 h 6874626"/>
              <a:gd name="connsiteX1" fmla="*/ 1695796 w 2637212"/>
              <a:gd name="connsiteY1" fmla="*/ 382385 h 6874626"/>
              <a:gd name="connsiteX2" fmla="*/ 2637212 w 2637212"/>
              <a:gd name="connsiteY2" fmla="*/ 0 h 6874626"/>
              <a:gd name="connsiteX3" fmla="*/ 2637212 w 2637212"/>
              <a:gd name="connsiteY3" fmla="*/ 5104014 h 6874626"/>
              <a:gd name="connsiteX4" fmla="*/ 756457 w 2637212"/>
              <a:gd name="connsiteY4" fmla="*/ 6874626 h 6874626"/>
              <a:gd name="connsiteX5" fmla="*/ 8312 w 2637212"/>
              <a:gd name="connsiteY5" fmla="*/ 6858000 h 6874626"/>
              <a:gd name="connsiteX6" fmla="*/ 0 w 2637212"/>
              <a:gd name="connsiteY6" fmla="*/ 1113905 h 6874626"/>
              <a:gd name="connsiteX0" fmla="*/ 0 w 2637212"/>
              <a:gd name="connsiteY0" fmla="*/ 1122218 h 6882939"/>
              <a:gd name="connsiteX1" fmla="*/ 1188720 w 2637212"/>
              <a:gd name="connsiteY1" fmla="*/ 0 h 6882939"/>
              <a:gd name="connsiteX2" fmla="*/ 2637212 w 2637212"/>
              <a:gd name="connsiteY2" fmla="*/ 8313 h 6882939"/>
              <a:gd name="connsiteX3" fmla="*/ 2637212 w 2637212"/>
              <a:gd name="connsiteY3" fmla="*/ 5112327 h 6882939"/>
              <a:gd name="connsiteX4" fmla="*/ 756457 w 2637212"/>
              <a:gd name="connsiteY4" fmla="*/ 6882939 h 6882939"/>
              <a:gd name="connsiteX5" fmla="*/ 8312 w 2637212"/>
              <a:gd name="connsiteY5" fmla="*/ 6866313 h 6882939"/>
              <a:gd name="connsiteX6" fmla="*/ 0 w 2637212"/>
              <a:gd name="connsiteY6" fmla="*/ 1122218 h 6882939"/>
              <a:gd name="connsiteX0" fmla="*/ 0 w 2646838"/>
              <a:gd name="connsiteY0" fmla="*/ 1122218 h 6882939"/>
              <a:gd name="connsiteX1" fmla="*/ 1188720 w 2646838"/>
              <a:gd name="connsiteY1" fmla="*/ 0 h 6882939"/>
              <a:gd name="connsiteX2" fmla="*/ 2637212 w 2646838"/>
              <a:gd name="connsiteY2" fmla="*/ 8313 h 6882939"/>
              <a:gd name="connsiteX3" fmla="*/ 2646838 w 2646838"/>
              <a:gd name="connsiteY3" fmla="*/ 6864125 h 6882939"/>
              <a:gd name="connsiteX4" fmla="*/ 756457 w 2646838"/>
              <a:gd name="connsiteY4" fmla="*/ 6882939 h 6882939"/>
              <a:gd name="connsiteX5" fmla="*/ 8312 w 2646838"/>
              <a:gd name="connsiteY5" fmla="*/ 6866313 h 6882939"/>
              <a:gd name="connsiteX6" fmla="*/ 0 w 2646838"/>
              <a:gd name="connsiteY6" fmla="*/ 1122218 h 6882939"/>
              <a:gd name="connsiteX0" fmla="*/ 11254 w 2658092"/>
              <a:gd name="connsiteY0" fmla="*/ 1122218 h 6882939"/>
              <a:gd name="connsiteX1" fmla="*/ 1199974 w 2658092"/>
              <a:gd name="connsiteY1" fmla="*/ 0 h 6882939"/>
              <a:gd name="connsiteX2" fmla="*/ 2648466 w 2658092"/>
              <a:gd name="connsiteY2" fmla="*/ 8313 h 6882939"/>
              <a:gd name="connsiteX3" fmla="*/ 2658092 w 2658092"/>
              <a:gd name="connsiteY3" fmla="*/ 6864125 h 6882939"/>
              <a:gd name="connsiteX4" fmla="*/ 767711 w 2658092"/>
              <a:gd name="connsiteY4" fmla="*/ 6882939 h 6882939"/>
              <a:gd name="connsiteX5" fmla="*/ 315 w 2658092"/>
              <a:gd name="connsiteY5" fmla="*/ 5740157 h 6882939"/>
              <a:gd name="connsiteX6" fmla="*/ 11254 w 2658092"/>
              <a:gd name="connsiteY6" fmla="*/ 1122218 h 6882939"/>
              <a:gd name="connsiteX0" fmla="*/ 11254 w 2658092"/>
              <a:gd name="connsiteY0" fmla="*/ 1122218 h 6882939"/>
              <a:gd name="connsiteX1" fmla="*/ 1199974 w 2658092"/>
              <a:gd name="connsiteY1" fmla="*/ 0 h 6882939"/>
              <a:gd name="connsiteX2" fmla="*/ 2648466 w 2658092"/>
              <a:gd name="connsiteY2" fmla="*/ 8313 h 6882939"/>
              <a:gd name="connsiteX3" fmla="*/ 2658092 w 2658092"/>
              <a:gd name="connsiteY3" fmla="*/ 6864125 h 6882939"/>
              <a:gd name="connsiteX4" fmla="*/ 1171973 w 2658092"/>
              <a:gd name="connsiteY4" fmla="*/ 6882939 h 6882939"/>
              <a:gd name="connsiteX5" fmla="*/ 315 w 2658092"/>
              <a:gd name="connsiteY5" fmla="*/ 5740157 h 6882939"/>
              <a:gd name="connsiteX6" fmla="*/ 11254 w 2658092"/>
              <a:gd name="connsiteY6" fmla="*/ 1122218 h 6882939"/>
              <a:gd name="connsiteX0" fmla="*/ 11254 w 2667717"/>
              <a:gd name="connsiteY0" fmla="*/ 1122218 h 6882939"/>
              <a:gd name="connsiteX1" fmla="*/ 1199974 w 2667717"/>
              <a:gd name="connsiteY1" fmla="*/ 0 h 6882939"/>
              <a:gd name="connsiteX2" fmla="*/ 2648466 w 2667717"/>
              <a:gd name="connsiteY2" fmla="*/ 8313 h 6882939"/>
              <a:gd name="connsiteX3" fmla="*/ 2667717 w 2667717"/>
              <a:gd name="connsiteY3" fmla="*/ 6873751 h 6882939"/>
              <a:gd name="connsiteX4" fmla="*/ 1171973 w 2667717"/>
              <a:gd name="connsiteY4" fmla="*/ 6882939 h 6882939"/>
              <a:gd name="connsiteX5" fmla="*/ 315 w 2667717"/>
              <a:gd name="connsiteY5" fmla="*/ 5740157 h 6882939"/>
              <a:gd name="connsiteX6" fmla="*/ 11254 w 2667717"/>
              <a:gd name="connsiteY6" fmla="*/ 1122218 h 6882939"/>
              <a:gd name="connsiteX0" fmla="*/ 11254 w 2667717"/>
              <a:gd name="connsiteY0" fmla="*/ 1113905 h 6874626"/>
              <a:gd name="connsiteX1" fmla="*/ 786088 w 2667717"/>
              <a:gd name="connsiteY1" fmla="*/ 10938 h 6874626"/>
              <a:gd name="connsiteX2" fmla="*/ 2648466 w 2667717"/>
              <a:gd name="connsiteY2" fmla="*/ 0 h 6874626"/>
              <a:gd name="connsiteX3" fmla="*/ 2667717 w 2667717"/>
              <a:gd name="connsiteY3" fmla="*/ 6865438 h 6874626"/>
              <a:gd name="connsiteX4" fmla="*/ 1171973 w 2667717"/>
              <a:gd name="connsiteY4" fmla="*/ 6874626 h 6874626"/>
              <a:gd name="connsiteX5" fmla="*/ 315 w 2667717"/>
              <a:gd name="connsiteY5" fmla="*/ 5731844 h 6874626"/>
              <a:gd name="connsiteX6" fmla="*/ 11254 w 2667717"/>
              <a:gd name="connsiteY6" fmla="*/ 1113905 h 6874626"/>
              <a:gd name="connsiteX0" fmla="*/ 20772 w 2667609"/>
              <a:gd name="connsiteY0" fmla="*/ 0 h 6906127"/>
              <a:gd name="connsiteX1" fmla="*/ 785980 w 2667609"/>
              <a:gd name="connsiteY1" fmla="*/ 42439 h 6906127"/>
              <a:gd name="connsiteX2" fmla="*/ 2648358 w 2667609"/>
              <a:gd name="connsiteY2" fmla="*/ 31501 h 6906127"/>
              <a:gd name="connsiteX3" fmla="*/ 2667609 w 2667609"/>
              <a:gd name="connsiteY3" fmla="*/ 6896939 h 6906127"/>
              <a:gd name="connsiteX4" fmla="*/ 1171865 w 2667609"/>
              <a:gd name="connsiteY4" fmla="*/ 6906127 h 6906127"/>
              <a:gd name="connsiteX5" fmla="*/ 207 w 2667609"/>
              <a:gd name="connsiteY5" fmla="*/ 5763345 h 6906127"/>
              <a:gd name="connsiteX6" fmla="*/ 20772 w 2667609"/>
              <a:gd name="connsiteY6" fmla="*/ 0 h 6906127"/>
              <a:gd name="connsiteX0" fmla="*/ 30344 w 2667556"/>
              <a:gd name="connsiteY0" fmla="*/ 0 h 6896502"/>
              <a:gd name="connsiteX1" fmla="*/ 785927 w 2667556"/>
              <a:gd name="connsiteY1" fmla="*/ 32814 h 6896502"/>
              <a:gd name="connsiteX2" fmla="*/ 2648305 w 2667556"/>
              <a:gd name="connsiteY2" fmla="*/ 21876 h 6896502"/>
              <a:gd name="connsiteX3" fmla="*/ 2667556 w 2667556"/>
              <a:gd name="connsiteY3" fmla="*/ 6887314 h 6896502"/>
              <a:gd name="connsiteX4" fmla="*/ 1171812 w 2667556"/>
              <a:gd name="connsiteY4" fmla="*/ 6896502 h 6896502"/>
              <a:gd name="connsiteX5" fmla="*/ 154 w 2667556"/>
              <a:gd name="connsiteY5" fmla="*/ 5753720 h 6896502"/>
              <a:gd name="connsiteX6" fmla="*/ 30344 w 2667556"/>
              <a:gd name="connsiteY6" fmla="*/ 0 h 6896502"/>
              <a:gd name="connsiteX0" fmla="*/ 30344 w 2667556"/>
              <a:gd name="connsiteY0" fmla="*/ 5687 h 6902189"/>
              <a:gd name="connsiteX1" fmla="*/ 824428 w 2667556"/>
              <a:gd name="connsiteY1" fmla="*/ 0 h 6902189"/>
              <a:gd name="connsiteX2" fmla="*/ 2648305 w 2667556"/>
              <a:gd name="connsiteY2" fmla="*/ 27563 h 6902189"/>
              <a:gd name="connsiteX3" fmla="*/ 2667556 w 2667556"/>
              <a:gd name="connsiteY3" fmla="*/ 6893001 h 6902189"/>
              <a:gd name="connsiteX4" fmla="*/ 1171812 w 2667556"/>
              <a:gd name="connsiteY4" fmla="*/ 6902189 h 6902189"/>
              <a:gd name="connsiteX5" fmla="*/ 154 w 2667556"/>
              <a:gd name="connsiteY5" fmla="*/ 5759407 h 6902189"/>
              <a:gd name="connsiteX6" fmla="*/ 30344 w 2667556"/>
              <a:gd name="connsiteY6" fmla="*/ 5687 h 6902189"/>
              <a:gd name="connsiteX0" fmla="*/ 30344 w 2667556"/>
              <a:gd name="connsiteY0" fmla="*/ 5687 h 6902189"/>
              <a:gd name="connsiteX1" fmla="*/ 824428 w 2667556"/>
              <a:gd name="connsiteY1" fmla="*/ 0 h 6902189"/>
              <a:gd name="connsiteX2" fmla="*/ 2657930 w 2667556"/>
              <a:gd name="connsiteY2" fmla="*/ 1769736 h 6902189"/>
              <a:gd name="connsiteX3" fmla="*/ 2667556 w 2667556"/>
              <a:gd name="connsiteY3" fmla="*/ 6893001 h 6902189"/>
              <a:gd name="connsiteX4" fmla="*/ 1171812 w 2667556"/>
              <a:gd name="connsiteY4" fmla="*/ 6902189 h 6902189"/>
              <a:gd name="connsiteX5" fmla="*/ 154 w 2667556"/>
              <a:gd name="connsiteY5" fmla="*/ 5759407 h 6902189"/>
              <a:gd name="connsiteX6" fmla="*/ 30344 w 2667556"/>
              <a:gd name="connsiteY6" fmla="*/ 5687 h 6902189"/>
              <a:gd name="connsiteX0" fmla="*/ 30344 w 2667556"/>
              <a:gd name="connsiteY0" fmla="*/ 0 h 6896502"/>
              <a:gd name="connsiteX1" fmla="*/ 737801 w 2667556"/>
              <a:gd name="connsiteY1" fmla="*/ 13564 h 6896502"/>
              <a:gd name="connsiteX2" fmla="*/ 2657930 w 2667556"/>
              <a:gd name="connsiteY2" fmla="*/ 1764049 h 6896502"/>
              <a:gd name="connsiteX3" fmla="*/ 2667556 w 2667556"/>
              <a:gd name="connsiteY3" fmla="*/ 6887314 h 6896502"/>
              <a:gd name="connsiteX4" fmla="*/ 1171812 w 2667556"/>
              <a:gd name="connsiteY4" fmla="*/ 6896502 h 6896502"/>
              <a:gd name="connsiteX5" fmla="*/ 154 w 2667556"/>
              <a:gd name="connsiteY5" fmla="*/ 5753720 h 6896502"/>
              <a:gd name="connsiteX6" fmla="*/ 30344 w 2667556"/>
              <a:gd name="connsiteY6" fmla="*/ 0 h 6896502"/>
              <a:gd name="connsiteX0" fmla="*/ 30344 w 2667556"/>
              <a:gd name="connsiteY0" fmla="*/ 0 h 6896502"/>
              <a:gd name="connsiteX1" fmla="*/ 737801 w 2667556"/>
              <a:gd name="connsiteY1" fmla="*/ 13564 h 6896502"/>
              <a:gd name="connsiteX2" fmla="*/ 2648305 w 2667556"/>
              <a:gd name="connsiteY2" fmla="*/ 1792924 h 6896502"/>
              <a:gd name="connsiteX3" fmla="*/ 2667556 w 2667556"/>
              <a:gd name="connsiteY3" fmla="*/ 6887314 h 6896502"/>
              <a:gd name="connsiteX4" fmla="*/ 1171812 w 2667556"/>
              <a:gd name="connsiteY4" fmla="*/ 6896502 h 6896502"/>
              <a:gd name="connsiteX5" fmla="*/ 154 w 2667556"/>
              <a:gd name="connsiteY5" fmla="*/ 5753720 h 6896502"/>
              <a:gd name="connsiteX6" fmla="*/ 30344 w 2667556"/>
              <a:gd name="connsiteY6" fmla="*/ 0 h 6896502"/>
              <a:gd name="connsiteX0" fmla="*/ 1988 w 2639200"/>
              <a:gd name="connsiteY0" fmla="*/ 0 h 6896502"/>
              <a:gd name="connsiteX1" fmla="*/ 709445 w 2639200"/>
              <a:gd name="connsiteY1" fmla="*/ 13564 h 6896502"/>
              <a:gd name="connsiteX2" fmla="*/ 2619949 w 2639200"/>
              <a:gd name="connsiteY2" fmla="*/ 1792924 h 6896502"/>
              <a:gd name="connsiteX3" fmla="*/ 2639200 w 2639200"/>
              <a:gd name="connsiteY3" fmla="*/ 6887314 h 6896502"/>
              <a:gd name="connsiteX4" fmla="*/ 1143456 w 2639200"/>
              <a:gd name="connsiteY4" fmla="*/ 6896502 h 6896502"/>
              <a:gd name="connsiteX5" fmla="*/ 674 w 2639200"/>
              <a:gd name="connsiteY5" fmla="*/ 6879876 h 6896502"/>
              <a:gd name="connsiteX6" fmla="*/ 1988 w 2639200"/>
              <a:gd name="connsiteY6" fmla="*/ 0 h 6896502"/>
              <a:gd name="connsiteX0" fmla="*/ 1988 w 2639200"/>
              <a:gd name="connsiteY0" fmla="*/ 0 h 6887314"/>
              <a:gd name="connsiteX1" fmla="*/ 709445 w 2639200"/>
              <a:gd name="connsiteY1" fmla="*/ 13564 h 6887314"/>
              <a:gd name="connsiteX2" fmla="*/ 2619949 w 2639200"/>
              <a:gd name="connsiteY2" fmla="*/ 1792924 h 6887314"/>
              <a:gd name="connsiteX3" fmla="*/ 2639200 w 2639200"/>
              <a:gd name="connsiteY3" fmla="*/ 6887314 h 6887314"/>
              <a:gd name="connsiteX4" fmla="*/ 796947 w 2639200"/>
              <a:gd name="connsiteY4" fmla="*/ 6886877 h 6887314"/>
              <a:gd name="connsiteX5" fmla="*/ 674 w 2639200"/>
              <a:gd name="connsiteY5" fmla="*/ 6879876 h 6887314"/>
              <a:gd name="connsiteX6" fmla="*/ 1988 w 2639200"/>
              <a:gd name="connsiteY6" fmla="*/ 0 h 6887314"/>
              <a:gd name="connsiteX0" fmla="*/ 1988 w 2639200"/>
              <a:gd name="connsiteY0" fmla="*/ 0 h 6886877"/>
              <a:gd name="connsiteX1" fmla="*/ 709445 w 2639200"/>
              <a:gd name="connsiteY1" fmla="*/ 13564 h 6886877"/>
              <a:gd name="connsiteX2" fmla="*/ 2619949 w 2639200"/>
              <a:gd name="connsiteY2" fmla="*/ 1792924 h 6886877"/>
              <a:gd name="connsiteX3" fmla="*/ 2639200 w 2639200"/>
              <a:gd name="connsiteY3" fmla="*/ 5106640 h 6886877"/>
              <a:gd name="connsiteX4" fmla="*/ 796947 w 2639200"/>
              <a:gd name="connsiteY4" fmla="*/ 6886877 h 6886877"/>
              <a:gd name="connsiteX5" fmla="*/ 674 w 2639200"/>
              <a:gd name="connsiteY5" fmla="*/ 6879876 h 6886877"/>
              <a:gd name="connsiteX6" fmla="*/ 1988 w 2639200"/>
              <a:gd name="connsiteY6" fmla="*/ 0 h 6886877"/>
              <a:gd name="connsiteX0" fmla="*/ 1988 w 2639200"/>
              <a:gd name="connsiteY0" fmla="*/ 0 h 6886877"/>
              <a:gd name="connsiteX1" fmla="*/ 709445 w 2639200"/>
              <a:gd name="connsiteY1" fmla="*/ 13564 h 6886877"/>
              <a:gd name="connsiteX2" fmla="*/ 2600699 w 2639200"/>
              <a:gd name="connsiteY2" fmla="*/ 89253 h 6886877"/>
              <a:gd name="connsiteX3" fmla="*/ 2639200 w 2639200"/>
              <a:gd name="connsiteY3" fmla="*/ 5106640 h 6886877"/>
              <a:gd name="connsiteX4" fmla="*/ 796947 w 2639200"/>
              <a:gd name="connsiteY4" fmla="*/ 6886877 h 6886877"/>
              <a:gd name="connsiteX5" fmla="*/ 674 w 2639200"/>
              <a:gd name="connsiteY5" fmla="*/ 6879876 h 6886877"/>
              <a:gd name="connsiteX6" fmla="*/ 1988 w 2639200"/>
              <a:gd name="connsiteY6" fmla="*/ 0 h 6886877"/>
              <a:gd name="connsiteX0" fmla="*/ 1988 w 2639200"/>
              <a:gd name="connsiteY0" fmla="*/ 0 h 6886877"/>
              <a:gd name="connsiteX1" fmla="*/ 709445 w 2639200"/>
              <a:gd name="connsiteY1" fmla="*/ 13564 h 6886877"/>
              <a:gd name="connsiteX2" fmla="*/ 2600699 w 2639200"/>
              <a:gd name="connsiteY2" fmla="*/ 41127 h 6886877"/>
              <a:gd name="connsiteX3" fmla="*/ 2639200 w 2639200"/>
              <a:gd name="connsiteY3" fmla="*/ 5106640 h 6886877"/>
              <a:gd name="connsiteX4" fmla="*/ 796947 w 2639200"/>
              <a:gd name="connsiteY4" fmla="*/ 6886877 h 6886877"/>
              <a:gd name="connsiteX5" fmla="*/ 674 w 2639200"/>
              <a:gd name="connsiteY5" fmla="*/ 6879876 h 6886877"/>
              <a:gd name="connsiteX6" fmla="*/ 1988 w 2639200"/>
              <a:gd name="connsiteY6" fmla="*/ 0 h 6886877"/>
              <a:gd name="connsiteX0" fmla="*/ 1988 w 2648825"/>
              <a:gd name="connsiteY0" fmla="*/ 0 h 6886877"/>
              <a:gd name="connsiteX1" fmla="*/ 709445 w 2648825"/>
              <a:gd name="connsiteY1" fmla="*/ 13564 h 6886877"/>
              <a:gd name="connsiteX2" fmla="*/ 2600699 w 2648825"/>
              <a:gd name="connsiteY2" fmla="*/ 41127 h 6886877"/>
              <a:gd name="connsiteX3" fmla="*/ 2648825 w 2648825"/>
              <a:gd name="connsiteY3" fmla="*/ 5087389 h 6886877"/>
              <a:gd name="connsiteX4" fmla="*/ 796947 w 2648825"/>
              <a:gd name="connsiteY4" fmla="*/ 6886877 h 6886877"/>
              <a:gd name="connsiteX5" fmla="*/ 674 w 2648825"/>
              <a:gd name="connsiteY5" fmla="*/ 6879876 h 6886877"/>
              <a:gd name="connsiteX6" fmla="*/ 1988 w 2648825"/>
              <a:gd name="connsiteY6" fmla="*/ 0 h 6886877"/>
              <a:gd name="connsiteX0" fmla="*/ 1988 w 2648825"/>
              <a:gd name="connsiteY0" fmla="*/ 1189594 h 6873313"/>
              <a:gd name="connsiteX1" fmla="*/ 709445 w 2648825"/>
              <a:gd name="connsiteY1" fmla="*/ 0 h 6873313"/>
              <a:gd name="connsiteX2" fmla="*/ 2600699 w 2648825"/>
              <a:gd name="connsiteY2" fmla="*/ 27563 h 6873313"/>
              <a:gd name="connsiteX3" fmla="*/ 2648825 w 2648825"/>
              <a:gd name="connsiteY3" fmla="*/ 5073825 h 6873313"/>
              <a:gd name="connsiteX4" fmla="*/ 796947 w 2648825"/>
              <a:gd name="connsiteY4" fmla="*/ 6873313 h 6873313"/>
              <a:gd name="connsiteX5" fmla="*/ 674 w 2648825"/>
              <a:gd name="connsiteY5" fmla="*/ 6866312 h 6873313"/>
              <a:gd name="connsiteX6" fmla="*/ 1988 w 2648825"/>
              <a:gd name="connsiteY6" fmla="*/ 1189594 h 6873313"/>
              <a:gd name="connsiteX0" fmla="*/ 1988 w 2648825"/>
              <a:gd name="connsiteY0" fmla="*/ 1162031 h 6845750"/>
              <a:gd name="connsiteX1" fmla="*/ 1171458 w 2648825"/>
              <a:gd name="connsiteY1" fmla="*/ 1313 h 6845750"/>
              <a:gd name="connsiteX2" fmla="*/ 2600699 w 2648825"/>
              <a:gd name="connsiteY2" fmla="*/ 0 h 6845750"/>
              <a:gd name="connsiteX3" fmla="*/ 2648825 w 2648825"/>
              <a:gd name="connsiteY3" fmla="*/ 5046262 h 6845750"/>
              <a:gd name="connsiteX4" fmla="*/ 796947 w 2648825"/>
              <a:gd name="connsiteY4" fmla="*/ 6845750 h 6845750"/>
              <a:gd name="connsiteX5" fmla="*/ 674 w 2648825"/>
              <a:gd name="connsiteY5" fmla="*/ 6838749 h 6845750"/>
              <a:gd name="connsiteX6" fmla="*/ 1988 w 2648825"/>
              <a:gd name="connsiteY6" fmla="*/ 1162031 h 6845750"/>
              <a:gd name="connsiteX0" fmla="*/ 0 w 2646837"/>
              <a:gd name="connsiteY0" fmla="*/ 1162031 h 6845750"/>
              <a:gd name="connsiteX1" fmla="*/ 1169470 w 2646837"/>
              <a:gd name="connsiteY1" fmla="*/ 1313 h 6845750"/>
              <a:gd name="connsiteX2" fmla="*/ 2598711 w 2646837"/>
              <a:gd name="connsiteY2" fmla="*/ 0 h 6845750"/>
              <a:gd name="connsiteX3" fmla="*/ 2646837 w 2646837"/>
              <a:gd name="connsiteY3" fmla="*/ 5046262 h 6845750"/>
              <a:gd name="connsiteX4" fmla="*/ 794959 w 2646837"/>
              <a:gd name="connsiteY4" fmla="*/ 6845750 h 6845750"/>
              <a:gd name="connsiteX5" fmla="*/ 8311 w 2646837"/>
              <a:gd name="connsiteY5" fmla="*/ 6838749 h 6845750"/>
              <a:gd name="connsiteX6" fmla="*/ 0 w 2646837"/>
              <a:gd name="connsiteY6" fmla="*/ 1162031 h 6845750"/>
              <a:gd name="connsiteX0" fmla="*/ 0 w 2637211"/>
              <a:gd name="connsiteY0" fmla="*/ 1162031 h 6845750"/>
              <a:gd name="connsiteX1" fmla="*/ 1169470 w 2637211"/>
              <a:gd name="connsiteY1" fmla="*/ 1313 h 6845750"/>
              <a:gd name="connsiteX2" fmla="*/ 2598711 w 2637211"/>
              <a:gd name="connsiteY2" fmla="*/ 0 h 6845750"/>
              <a:gd name="connsiteX3" fmla="*/ 2637211 w 2637211"/>
              <a:gd name="connsiteY3" fmla="*/ 5017386 h 6845750"/>
              <a:gd name="connsiteX4" fmla="*/ 794959 w 2637211"/>
              <a:gd name="connsiteY4" fmla="*/ 6845750 h 6845750"/>
              <a:gd name="connsiteX5" fmla="*/ 8311 w 2637211"/>
              <a:gd name="connsiteY5" fmla="*/ 6838749 h 6845750"/>
              <a:gd name="connsiteX6" fmla="*/ 0 w 2637211"/>
              <a:gd name="connsiteY6" fmla="*/ 1162031 h 6845750"/>
              <a:gd name="connsiteX0" fmla="*/ 0 w 2656461"/>
              <a:gd name="connsiteY0" fmla="*/ 1162031 h 6845750"/>
              <a:gd name="connsiteX1" fmla="*/ 1169470 w 2656461"/>
              <a:gd name="connsiteY1" fmla="*/ 1313 h 6845750"/>
              <a:gd name="connsiteX2" fmla="*/ 2598711 w 2656461"/>
              <a:gd name="connsiteY2" fmla="*/ 0 h 6845750"/>
              <a:gd name="connsiteX3" fmla="*/ 2656461 w 2656461"/>
              <a:gd name="connsiteY3" fmla="*/ 5017386 h 6845750"/>
              <a:gd name="connsiteX4" fmla="*/ 794959 w 2656461"/>
              <a:gd name="connsiteY4" fmla="*/ 6845750 h 6845750"/>
              <a:gd name="connsiteX5" fmla="*/ 8311 w 2656461"/>
              <a:gd name="connsiteY5" fmla="*/ 6838749 h 6845750"/>
              <a:gd name="connsiteX6" fmla="*/ 0 w 2656461"/>
              <a:gd name="connsiteY6" fmla="*/ 1162031 h 6845750"/>
              <a:gd name="connsiteX0" fmla="*/ 0 w 2656461"/>
              <a:gd name="connsiteY0" fmla="*/ 1200533 h 6884252"/>
              <a:gd name="connsiteX1" fmla="*/ 1169470 w 2656461"/>
              <a:gd name="connsiteY1" fmla="*/ 39815 h 6884252"/>
              <a:gd name="connsiteX2" fmla="*/ 2627586 w 2656461"/>
              <a:gd name="connsiteY2" fmla="*/ 0 h 6884252"/>
              <a:gd name="connsiteX3" fmla="*/ 2656461 w 2656461"/>
              <a:gd name="connsiteY3" fmla="*/ 5055888 h 6884252"/>
              <a:gd name="connsiteX4" fmla="*/ 794959 w 2656461"/>
              <a:gd name="connsiteY4" fmla="*/ 6884252 h 6884252"/>
              <a:gd name="connsiteX5" fmla="*/ 8311 w 2656461"/>
              <a:gd name="connsiteY5" fmla="*/ 6877251 h 6884252"/>
              <a:gd name="connsiteX6" fmla="*/ 0 w 2656461"/>
              <a:gd name="connsiteY6" fmla="*/ 1200533 h 6884252"/>
              <a:gd name="connsiteX0" fmla="*/ 0 w 2656461"/>
              <a:gd name="connsiteY0" fmla="*/ 1171657 h 6855376"/>
              <a:gd name="connsiteX1" fmla="*/ 1169470 w 2656461"/>
              <a:gd name="connsiteY1" fmla="*/ 10939 h 6855376"/>
              <a:gd name="connsiteX2" fmla="*/ 2608336 w 2656461"/>
              <a:gd name="connsiteY2" fmla="*/ 0 h 6855376"/>
              <a:gd name="connsiteX3" fmla="*/ 2656461 w 2656461"/>
              <a:gd name="connsiteY3" fmla="*/ 5027012 h 6855376"/>
              <a:gd name="connsiteX4" fmla="*/ 794959 w 2656461"/>
              <a:gd name="connsiteY4" fmla="*/ 6855376 h 6855376"/>
              <a:gd name="connsiteX5" fmla="*/ 8311 w 2656461"/>
              <a:gd name="connsiteY5" fmla="*/ 6848375 h 6855376"/>
              <a:gd name="connsiteX6" fmla="*/ 0 w 2656461"/>
              <a:gd name="connsiteY6" fmla="*/ 1171657 h 6855376"/>
              <a:gd name="connsiteX0" fmla="*/ 0 w 2656461"/>
              <a:gd name="connsiteY0" fmla="*/ 1160718 h 6844437"/>
              <a:gd name="connsiteX1" fmla="*/ 1169470 w 2656461"/>
              <a:gd name="connsiteY1" fmla="*/ 0 h 6844437"/>
              <a:gd name="connsiteX2" fmla="*/ 2617962 w 2656461"/>
              <a:gd name="connsiteY2" fmla="*/ 8312 h 6844437"/>
              <a:gd name="connsiteX3" fmla="*/ 2656461 w 2656461"/>
              <a:gd name="connsiteY3" fmla="*/ 5016073 h 6844437"/>
              <a:gd name="connsiteX4" fmla="*/ 794959 w 2656461"/>
              <a:gd name="connsiteY4" fmla="*/ 6844437 h 6844437"/>
              <a:gd name="connsiteX5" fmla="*/ 8311 w 2656461"/>
              <a:gd name="connsiteY5" fmla="*/ 6837436 h 6844437"/>
              <a:gd name="connsiteX6" fmla="*/ 0 w 2656461"/>
              <a:gd name="connsiteY6" fmla="*/ 1160718 h 6844437"/>
              <a:gd name="connsiteX0" fmla="*/ 0 w 2646836"/>
              <a:gd name="connsiteY0" fmla="*/ 1160718 h 6844437"/>
              <a:gd name="connsiteX1" fmla="*/ 1169470 w 2646836"/>
              <a:gd name="connsiteY1" fmla="*/ 0 h 6844437"/>
              <a:gd name="connsiteX2" fmla="*/ 2617962 w 2646836"/>
              <a:gd name="connsiteY2" fmla="*/ 8312 h 6844437"/>
              <a:gd name="connsiteX3" fmla="*/ 2646836 w 2646836"/>
              <a:gd name="connsiteY3" fmla="*/ 5035323 h 6844437"/>
              <a:gd name="connsiteX4" fmla="*/ 794959 w 2646836"/>
              <a:gd name="connsiteY4" fmla="*/ 6844437 h 6844437"/>
              <a:gd name="connsiteX5" fmla="*/ 8311 w 2646836"/>
              <a:gd name="connsiteY5" fmla="*/ 6837436 h 6844437"/>
              <a:gd name="connsiteX6" fmla="*/ 0 w 2646836"/>
              <a:gd name="connsiteY6" fmla="*/ 1160718 h 6844437"/>
              <a:gd name="connsiteX0" fmla="*/ 0 w 2646836"/>
              <a:gd name="connsiteY0" fmla="*/ 1160718 h 6844437"/>
              <a:gd name="connsiteX1" fmla="*/ 1169470 w 2646836"/>
              <a:gd name="connsiteY1" fmla="*/ 0 h 6844437"/>
              <a:gd name="connsiteX2" fmla="*/ 2617962 w 2646836"/>
              <a:gd name="connsiteY2" fmla="*/ 8312 h 6844437"/>
              <a:gd name="connsiteX3" fmla="*/ 2646836 w 2646836"/>
              <a:gd name="connsiteY3" fmla="*/ 5035323 h 6844437"/>
              <a:gd name="connsiteX4" fmla="*/ 794959 w 2646836"/>
              <a:gd name="connsiteY4" fmla="*/ 6844437 h 6844437"/>
              <a:gd name="connsiteX5" fmla="*/ 8311 w 2646836"/>
              <a:gd name="connsiteY5" fmla="*/ 6837436 h 6844437"/>
              <a:gd name="connsiteX6" fmla="*/ 0 w 2646836"/>
              <a:gd name="connsiteY6" fmla="*/ 1160718 h 6844437"/>
              <a:gd name="connsiteX0" fmla="*/ 0 w 2685337"/>
              <a:gd name="connsiteY0" fmla="*/ 1160718 h 6844437"/>
              <a:gd name="connsiteX1" fmla="*/ 1169470 w 2685337"/>
              <a:gd name="connsiteY1" fmla="*/ 0 h 6844437"/>
              <a:gd name="connsiteX2" fmla="*/ 2617962 w 2685337"/>
              <a:gd name="connsiteY2" fmla="*/ 8312 h 6844437"/>
              <a:gd name="connsiteX3" fmla="*/ 2685337 w 2685337"/>
              <a:gd name="connsiteY3" fmla="*/ 5054573 h 6844437"/>
              <a:gd name="connsiteX4" fmla="*/ 794959 w 2685337"/>
              <a:gd name="connsiteY4" fmla="*/ 6844437 h 6844437"/>
              <a:gd name="connsiteX5" fmla="*/ 8311 w 2685337"/>
              <a:gd name="connsiteY5" fmla="*/ 6837436 h 6844437"/>
              <a:gd name="connsiteX6" fmla="*/ 0 w 2685337"/>
              <a:gd name="connsiteY6" fmla="*/ 1160718 h 6844437"/>
              <a:gd name="connsiteX0" fmla="*/ 0 w 2637211"/>
              <a:gd name="connsiteY0" fmla="*/ 1160718 h 6844437"/>
              <a:gd name="connsiteX1" fmla="*/ 1169470 w 2637211"/>
              <a:gd name="connsiteY1" fmla="*/ 0 h 6844437"/>
              <a:gd name="connsiteX2" fmla="*/ 2617962 w 2637211"/>
              <a:gd name="connsiteY2" fmla="*/ 8312 h 6844437"/>
              <a:gd name="connsiteX3" fmla="*/ 2637211 w 2637211"/>
              <a:gd name="connsiteY3" fmla="*/ 5093074 h 6844437"/>
              <a:gd name="connsiteX4" fmla="*/ 794959 w 2637211"/>
              <a:gd name="connsiteY4" fmla="*/ 6844437 h 6844437"/>
              <a:gd name="connsiteX5" fmla="*/ 8311 w 2637211"/>
              <a:gd name="connsiteY5" fmla="*/ 6837436 h 6844437"/>
              <a:gd name="connsiteX6" fmla="*/ 0 w 2637211"/>
              <a:gd name="connsiteY6" fmla="*/ 1160718 h 6844437"/>
              <a:gd name="connsiteX0" fmla="*/ 0 w 2637211"/>
              <a:gd name="connsiteY0" fmla="*/ 1160718 h 6844437"/>
              <a:gd name="connsiteX1" fmla="*/ 1207971 w 2637211"/>
              <a:gd name="connsiteY1" fmla="*/ 0 h 6844437"/>
              <a:gd name="connsiteX2" fmla="*/ 2617962 w 2637211"/>
              <a:gd name="connsiteY2" fmla="*/ 8312 h 6844437"/>
              <a:gd name="connsiteX3" fmla="*/ 2637211 w 2637211"/>
              <a:gd name="connsiteY3" fmla="*/ 5093074 h 6844437"/>
              <a:gd name="connsiteX4" fmla="*/ 794959 w 2637211"/>
              <a:gd name="connsiteY4" fmla="*/ 6844437 h 6844437"/>
              <a:gd name="connsiteX5" fmla="*/ 8311 w 2637211"/>
              <a:gd name="connsiteY5" fmla="*/ 6837436 h 6844437"/>
              <a:gd name="connsiteX6" fmla="*/ 0 w 2637211"/>
              <a:gd name="connsiteY6" fmla="*/ 1160718 h 6844437"/>
              <a:gd name="connsiteX0" fmla="*/ 0 w 2637211"/>
              <a:gd name="connsiteY0" fmla="*/ 1122217 h 6844437"/>
              <a:gd name="connsiteX1" fmla="*/ 1207971 w 2637211"/>
              <a:gd name="connsiteY1" fmla="*/ 0 h 6844437"/>
              <a:gd name="connsiteX2" fmla="*/ 2617962 w 2637211"/>
              <a:gd name="connsiteY2" fmla="*/ 8312 h 6844437"/>
              <a:gd name="connsiteX3" fmla="*/ 2637211 w 2637211"/>
              <a:gd name="connsiteY3" fmla="*/ 5093074 h 6844437"/>
              <a:gd name="connsiteX4" fmla="*/ 794959 w 2637211"/>
              <a:gd name="connsiteY4" fmla="*/ 6844437 h 6844437"/>
              <a:gd name="connsiteX5" fmla="*/ 8311 w 2637211"/>
              <a:gd name="connsiteY5" fmla="*/ 6837436 h 6844437"/>
              <a:gd name="connsiteX6" fmla="*/ 0 w 2637211"/>
              <a:gd name="connsiteY6" fmla="*/ 1122217 h 6844437"/>
              <a:gd name="connsiteX0" fmla="*/ 0 w 2637211"/>
              <a:gd name="connsiteY0" fmla="*/ 1122217 h 6844437"/>
              <a:gd name="connsiteX1" fmla="*/ 1198346 w 2637211"/>
              <a:gd name="connsiteY1" fmla="*/ 0 h 6844437"/>
              <a:gd name="connsiteX2" fmla="*/ 2617962 w 2637211"/>
              <a:gd name="connsiteY2" fmla="*/ 8312 h 6844437"/>
              <a:gd name="connsiteX3" fmla="*/ 2637211 w 2637211"/>
              <a:gd name="connsiteY3" fmla="*/ 5093074 h 6844437"/>
              <a:gd name="connsiteX4" fmla="*/ 794959 w 2637211"/>
              <a:gd name="connsiteY4" fmla="*/ 6844437 h 6844437"/>
              <a:gd name="connsiteX5" fmla="*/ 8311 w 2637211"/>
              <a:gd name="connsiteY5" fmla="*/ 6837436 h 6844437"/>
              <a:gd name="connsiteX6" fmla="*/ 0 w 2637211"/>
              <a:gd name="connsiteY6" fmla="*/ 1122217 h 6844437"/>
              <a:gd name="connsiteX0" fmla="*/ 0 w 2637211"/>
              <a:gd name="connsiteY0" fmla="*/ 1152406 h 6874626"/>
              <a:gd name="connsiteX1" fmla="*/ 1198346 w 2637211"/>
              <a:gd name="connsiteY1" fmla="*/ 30189 h 6874626"/>
              <a:gd name="connsiteX2" fmla="*/ 2627587 w 2637211"/>
              <a:gd name="connsiteY2" fmla="*/ 0 h 6874626"/>
              <a:gd name="connsiteX3" fmla="*/ 2637211 w 2637211"/>
              <a:gd name="connsiteY3" fmla="*/ 5123263 h 6874626"/>
              <a:gd name="connsiteX4" fmla="*/ 794959 w 2637211"/>
              <a:gd name="connsiteY4" fmla="*/ 6874626 h 6874626"/>
              <a:gd name="connsiteX5" fmla="*/ 8311 w 2637211"/>
              <a:gd name="connsiteY5" fmla="*/ 6867625 h 6874626"/>
              <a:gd name="connsiteX6" fmla="*/ 0 w 2637211"/>
              <a:gd name="connsiteY6" fmla="*/ 1152406 h 6874626"/>
              <a:gd name="connsiteX0" fmla="*/ 0 w 2637211"/>
              <a:gd name="connsiteY0" fmla="*/ 1142781 h 6865001"/>
              <a:gd name="connsiteX1" fmla="*/ 1198346 w 2637211"/>
              <a:gd name="connsiteY1" fmla="*/ 20564 h 6865001"/>
              <a:gd name="connsiteX2" fmla="*/ 2627587 w 2637211"/>
              <a:gd name="connsiteY2" fmla="*/ 0 h 6865001"/>
              <a:gd name="connsiteX3" fmla="*/ 2637211 w 2637211"/>
              <a:gd name="connsiteY3" fmla="*/ 5113638 h 6865001"/>
              <a:gd name="connsiteX4" fmla="*/ 794959 w 2637211"/>
              <a:gd name="connsiteY4" fmla="*/ 6865001 h 6865001"/>
              <a:gd name="connsiteX5" fmla="*/ 8311 w 2637211"/>
              <a:gd name="connsiteY5" fmla="*/ 6858000 h 6865001"/>
              <a:gd name="connsiteX6" fmla="*/ 0 w 2637211"/>
              <a:gd name="connsiteY6" fmla="*/ 1142781 h 6865001"/>
              <a:gd name="connsiteX0" fmla="*/ 0 w 2637211"/>
              <a:gd name="connsiteY0" fmla="*/ 1142781 h 6865001"/>
              <a:gd name="connsiteX1" fmla="*/ 1198347 w 2637211"/>
              <a:gd name="connsiteY1" fmla="*/ 7117 h 6865001"/>
              <a:gd name="connsiteX2" fmla="*/ 2627587 w 2637211"/>
              <a:gd name="connsiteY2" fmla="*/ 0 h 6865001"/>
              <a:gd name="connsiteX3" fmla="*/ 2637211 w 2637211"/>
              <a:gd name="connsiteY3" fmla="*/ 5113638 h 6865001"/>
              <a:gd name="connsiteX4" fmla="*/ 794959 w 2637211"/>
              <a:gd name="connsiteY4" fmla="*/ 6865001 h 6865001"/>
              <a:gd name="connsiteX5" fmla="*/ 8311 w 2637211"/>
              <a:gd name="connsiteY5" fmla="*/ 6858000 h 6865001"/>
              <a:gd name="connsiteX6" fmla="*/ 0 w 2637211"/>
              <a:gd name="connsiteY6" fmla="*/ 1142781 h 6865001"/>
              <a:gd name="connsiteX0" fmla="*/ 0 w 2637211"/>
              <a:gd name="connsiteY0" fmla="*/ 1129334 h 6865001"/>
              <a:gd name="connsiteX1" fmla="*/ 1198347 w 2637211"/>
              <a:gd name="connsiteY1" fmla="*/ 7117 h 6865001"/>
              <a:gd name="connsiteX2" fmla="*/ 2627587 w 2637211"/>
              <a:gd name="connsiteY2" fmla="*/ 0 h 6865001"/>
              <a:gd name="connsiteX3" fmla="*/ 2637211 w 2637211"/>
              <a:gd name="connsiteY3" fmla="*/ 5113638 h 6865001"/>
              <a:gd name="connsiteX4" fmla="*/ 794959 w 2637211"/>
              <a:gd name="connsiteY4" fmla="*/ 6865001 h 6865001"/>
              <a:gd name="connsiteX5" fmla="*/ 8311 w 2637211"/>
              <a:gd name="connsiteY5" fmla="*/ 6858000 h 6865001"/>
              <a:gd name="connsiteX6" fmla="*/ 0 w 2637211"/>
              <a:gd name="connsiteY6" fmla="*/ 1129334 h 6865001"/>
              <a:gd name="connsiteX0" fmla="*/ 0 w 2637211"/>
              <a:gd name="connsiteY0" fmla="*/ 1129334 h 6865001"/>
              <a:gd name="connsiteX1" fmla="*/ 1205071 w 2637211"/>
              <a:gd name="connsiteY1" fmla="*/ 393 h 6865001"/>
              <a:gd name="connsiteX2" fmla="*/ 2627587 w 2637211"/>
              <a:gd name="connsiteY2" fmla="*/ 0 h 6865001"/>
              <a:gd name="connsiteX3" fmla="*/ 2637211 w 2637211"/>
              <a:gd name="connsiteY3" fmla="*/ 5113638 h 6865001"/>
              <a:gd name="connsiteX4" fmla="*/ 794959 w 2637211"/>
              <a:gd name="connsiteY4" fmla="*/ 6865001 h 6865001"/>
              <a:gd name="connsiteX5" fmla="*/ 8311 w 2637211"/>
              <a:gd name="connsiteY5" fmla="*/ 6858000 h 6865001"/>
              <a:gd name="connsiteX6" fmla="*/ 0 w 2637211"/>
              <a:gd name="connsiteY6" fmla="*/ 1129334 h 6865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37211" h="6865001">
                <a:moveTo>
                  <a:pt x="0" y="1129334"/>
                </a:moveTo>
                <a:lnTo>
                  <a:pt x="1205071" y="393"/>
                </a:lnTo>
                <a:lnTo>
                  <a:pt x="2627587" y="0"/>
                </a:lnTo>
                <a:cubicBezTo>
                  <a:pt x="2630796" y="2285271"/>
                  <a:pt x="2624376" y="2847617"/>
                  <a:pt x="2637211" y="5113638"/>
                </a:cubicBezTo>
                <a:lnTo>
                  <a:pt x="794959" y="6865001"/>
                </a:lnTo>
                <a:lnTo>
                  <a:pt x="8311" y="6858000"/>
                </a:lnTo>
                <a:cubicBezTo>
                  <a:pt x="5540" y="4943302"/>
                  <a:pt x="2771" y="3044032"/>
                  <a:pt x="0" y="1129334"/>
                </a:cubicBez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>
            <a:lvl1pPr marL="0" indent="0">
              <a:buFontTx/>
              <a:buNone/>
              <a:defRPr sz="8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FA11FE8-3CD8-4408-BCF6-1342389415C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9281" y="6172465"/>
            <a:ext cx="1636284" cy="387227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5310553D-701C-4759-BA5F-51660E1961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9278" y="1088586"/>
            <a:ext cx="8512991" cy="473630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5C948B8-97A7-4541-8A8D-AE8CB820F1A4}"/>
              </a:ext>
            </a:extLst>
          </p:cNvPr>
          <p:cNvSpPr txBox="1">
            <a:spLocks/>
          </p:cNvSpPr>
          <p:nvPr/>
        </p:nvSpPr>
        <p:spPr>
          <a:xfrm>
            <a:off x="3259277" y="190596"/>
            <a:ext cx="8512995" cy="663277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US" sz="360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6448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-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AB26520-C4B6-4E08-AF45-FD2D0ACF68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684713" cy="68468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694463-EA68-0A4D-BB10-B2B538C7A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6188" y="715242"/>
            <a:ext cx="6366085" cy="1307184"/>
          </a:xfrm>
        </p:spPr>
        <p:txBody>
          <a:bodyPr lIns="0" tIns="0" rIns="0" bIns="0" anchor="ctr" anchorCtr="0">
            <a:normAutofit/>
          </a:bodyPr>
          <a:lstStyle>
            <a:lvl1pPr>
              <a:defRPr sz="3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4E3D3A96-1DFD-A840-B607-DEA5DF396B92}"/>
              </a:ext>
            </a:extLst>
          </p:cNvPr>
          <p:cNvSpPr/>
          <p:nvPr/>
        </p:nvSpPr>
        <p:spPr>
          <a:xfrm rot="5400000">
            <a:off x="23146" y="-23146"/>
            <a:ext cx="1127885" cy="1174176"/>
          </a:xfrm>
          <a:prstGeom prst="rt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A6B12DA7-24A0-AF4C-9860-E5623E51A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F9E7947-8A01-F446-8FAD-9B05AE401874}"/>
              </a:ext>
            </a:extLst>
          </p:cNvPr>
          <p:cNvCxnSpPr>
            <a:cxnSpLocks/>
          </p:cNvCxnSpPr>
          <p:nvPr/>
        </p:nvCxnSpPr>
        <p:spPr>
          <a:xfrm flipV="1">
            <a:off x="11192011" y="6055750"/>
            <a:ext cx="580263" cy="559812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3A4D2CAA-39C0-4ACD-80E5-31E489C6059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35989" y="124139"/>
            <a:ext cx="1636284" cy="387227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ABF60DC-2017-4228-BB7D-C68ED56B0C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6188" y="2253276"/>
            <a:ext cx="6366085" cy="371209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Arial Black" panose="020B0A04020102020204" pitchFamily="34" charset="0"/>
              <a:buChar char="⁄"/>
              <a:defRPr b="1" baseline="0">
                <a:solidFill>
                  <a:schemeClr val="bg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buClr>
                <a:schemeClr val="bg2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2pPr>
            <a:lvl3pPr marL="914400" indent="-228600">
              <a:buClr>
                <a:schemeClr val="bg2"/>
              </a:buClr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+mj-lt"/>
              </a:defRPr>
            </a:lvl3pPr>
            <a:lvl4pPr marL="1188720">
              <a:buClr>
                <a:schemeClr val="accent1"/>
              </a:buClr>
              <a:defRPr>
                <a:solidFill>
                  <a:schemeClr val="bg1"/>
                </a:solidFill>
                <a:latin typeface="+mj-lt"/>
              </a:defRPr>
            </a:lvl4pPr>
            <a:lvl5pPr marL="1463040" indent="-228600">
              <a:buClr>
                <a:schemeClr val="accent1"/>
              </a:buClr>
              <a:buFont typeface="Georgia" panose="02040502050405020303" pitchFamily="18" charset="0"/>
              <a:buChar char="-"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text (bullet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2028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1FD939-4973-4F3D-AB74-0C9C179D645D}"/>
              </a:ext>
            </a:extLst>
          </p:cNvPr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351269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6" imgW="618" imgH="617" progId="TCLayout.ActiveDocument.1">
                  <p:embed/>
                </p:oleObj>
              </mc:Choice>
              <mc:Fallback>
                <p:oleObj name="think-cell Slide" r:id="rId46" imgW="618" imgH="61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1FD939-4973-4F3D-AB74-0C9C179D64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B60081-E6BE-4305-831E-1CCF190F7A21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57C010-723E-44A6-A5E0-59F2B17490DC}" type="datetimeFigureOut">
              <a:rPr lang="en-US" smtClean="0"/>
              <a:t>10/2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346FA0-0839-483A-AF46-DBCBB8F534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9322BE-2AEF-4B75-B17B-74356B2B8C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54484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702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3695" r:id="rId36"/>
    <p:sldLayoutId id="2147483696" r:id="rId37"/>
    <p:sldLayoutId id="2147483697" r:id="rId38"/>
    <p:sldLayoutId id="2147483698" r:id="rId39"/>
    <p:sldLayoutId id="2147483700" r:id="rId40"/>
    <p:sldLayoutId id="2147483701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36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3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6770F-FB74-40BD-BAB4-CB451A898E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915" y="2080088"/>
            <a:ext cx="9159659" cy="1831992"/>
          </a:xfrm>
        </p:spPr>
        <p:txBody>
          <a:bodyPr>
            <a:normAutofit/>
          </a:bodyPr>
          <a:lstStyle/>
          <a:p>
            <a:r>
              <a:rPr lang="en-US" sz="5400" dirty="0"/>
              <a:t>From Community Hospital to Teaching Hospital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181EC2-869C-466F-AABA-DD8A9137564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32915" y="4509475"/>
            <a:ext cx="6744262" cy="94241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hy you should start a graduate medical </a:t>
            </a:r>
            <a:br>
              <a:rPr lang="en-US" dirty="0"/>
            </a:br>
            <a:r>
              <a:rPr lang="en-US" dirty="0"/>
              <a:t>education program at your hospital</a:t>
            </a:r>
          </a:p>
        </p:txBody>
      </p:sp>
    </p:spTree>
    <p:extLst>
      <p:ext uri="{BB962C8B-B14F-4D97-AF65-F5344CB8AC3E}">
        <p14:creationId xmlns:p14="http://schemas.microsoft.com/office/powerpoint/2010/main" val="23337097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8DC458-C020-4695-8F9B-E1FAC7F150F0}"/>
              </a:ext>
            </a:extLst>
          </p:cNvPr>
          <p:cNvSpPr/>
          <p:nvPr/>
        </p:nvSpPr>
        <p:spPr>
          <a:xfrm>
            <a:off x="928777" y="1305341"/>
            <a:ext cx="10334445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dirty="0"/>
              <a:t>Though there are substantial start-up costs, many programs can become cost neutral </a:t>
            </a:r>
            <a:br>
              <a:rPr lang="en-US" sz="5400" b="1" dirty="0"/>
            </a:br>
            <a:r>
              <a:rPr lang="en-US" sz="5400" i="1" dirty="0"/>
              <a:t>(or even generate revenue)</a:t>
            </a:r>
            <a:r>
              <a:rPr lang="en-US" sz="5400" dirty="0"/>
              <a:t> </a:t>
            </a:r>
            <a:br>
              <a:rPr lang="en-US" sz="5400" dirty="0"/>
            </a:br>
            <a:r>
              <a:rPr lang="en-US" sz="5400" b="1" dirty="0"/>
              <a:t>within 5 to 10 years.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862825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14FDF-59C4-426C-83D3-E4E267975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03448" y="1248383"/>
            <a:ext cx="9460771" cy="53080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Workforc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B8E8DD1-C6BA-4508-A8EA-ACBDB7EC9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9453" y="232384"/>
            <a:ext cx="10598096" cy="530806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Benefit #2 And did we mention</a:t>
            </a:r>
            <a:endParaRPr lang="en-US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CA92E35-9A4D-4339-A601-813F5DBB9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11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97C558-F902-4C85-9637-35B011A8C9AA}"/>
              </a:ext>
            </a:extLst>
          </p:cNvPr>
          <p:cNvSpPr/>
          <p:nvPr/>
        </p:nvSpPr>
        <p:spPr>
          <a:xfrm>
            <a:off x="2000629" y="1853437"/>
            <a:ext cx="9666407" cy="43888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New teaching hospitals say that the cost of starting a GME program is neutral after costs of recruiting new physicians are considered. They also say that, ultimately, it is less expensive to train a new doctor than to hire a trained one.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New teaching hospitals say that physician recruitment is easier </a:t>
            </a:r>
            <a:br>
              <a:rPr lang="en-US" sz="2400" dirty="0">
                <a:solidFill>
                  <a:schemeClr val="accent1"/>
                </a:solidFill>
              </a:rPr>
            </a:br>
            <a:r>
              <a:rPr lang="en-US" sz="2400" dirty="0">
                <a:solidFill>
                  <a:schemeClr val="accent1"/>
                </a:solidFill>
              </a:rPr>
              <a:t>and that they can attract higher quality physicians after starting a teaching program.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Teaching programs create an immediate and long-term physician workforce pipeline, as some graduates each year choose to stay and work in the community.</a:t>
            </a:r>
          </a:p>
          <a:p>
            <a:pPr marL="342900" indent="-34290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Residents tend to be up to date with current standards of care, which can enhance the quality of care at the hospital.  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B874E0D-4421-4823-81DA-20A437500A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8775" y="916850"/>
            <a:ext cx="1193872" cy="119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1526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14FDF-59C4-426C-83D3-E4E267975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03446" y="1735730"/>
            <a:ext cx="9460771" cy="68103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Physician recruitment and retention: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B8E8DD1-C6BA-4508-A8EA-ACBDB7EC9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706" y="203723"/>
            <a:ext cx="10598096" cy="1193872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Teaching programs increase physicians’ quality</a:t>
            </a:r>
            <a:br>
              <a:rPr lang="en-US" sz="4000" dirty="0"/>
            </a:br>
            <a:r>
              <a:rPr lang="en-US" sz="4000" dirty="0"/>
              <a:t> of life, increasing job satisfaction and retention</a:t>
            </a:r>
            <a:endParaRPr lang="en-US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CA92E35-9A4D-4339-A601-813F5DBB9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12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97C558-F902-4C85-9637-35B011A8C9AA}"/>
              </a:ext>
            </a:extLst>
          </p:cNvPr>
          <p:cNvSpPr/>
          <p:nvPr/>
        </p:nvSpPr>
        <p:spPr>
          <a:xfrm>
            <a:off x="2103446" y="2591467"/>
            <a:ext cx="8696826" cy="2726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Teaching helps avoid physician burnout, promoting physicians’ wellness and providing additional career satisfaction.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Residents often cover the less-desirable schedules and</a:t>
            </a:r>
            <a:br>
              <a:rPr lang="en-US" sz="2400" dirty="0">
                <a:solidFill>
                  <a:schemeClr val="accent1"/>
                </a:solidFill>
              </a:rPr>
            </a:br>
            <a:r>
              <a:rPr lang="en-US" sz="2400" dirty="0">
                <a:solidFill>
                  <a:schemeClr val="accent1"/>
                </a:solidFill>
              </a:rPr>
              <a:t>take care of the more mundane tasks.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Many physicians feel there is substantial prestige associated with a faculty position. 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4822DB3-EF79-497E-8A71-C06DB07EE6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1395" y="1410801"/>
            <a:ext cx="1180666" cy="118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76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14FDF-59C4-426C-83D3-E4E267975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40068" y="1747273"/>
            <a:ext cx="9146643" cy="49451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0" dirty="0"/>
              <a:t> </a:t>
            </a:r>
            <a:r>
              <a:rPr lang="en-US" dirty="0"/>
              <a:t>Improved hospital reputatio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B8E8DD1-C6BA-4508-A8EA-ACBDB7EC9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706" y="203723"/>
            <a:ext cx="10598096" cy="1193872"/>
          </a:xfrm>
        </p:spPr>
        <p:txBody>
          <a:bodyPr>
            <a:normAutofit/>
          </a:bodyPr>
          <a:lstStyle/>
          <a:p>
            <a:r>
              <a:rPr lang="en-US" sz="4000" dirty="0"/>
              <a:t>Teaching programs improve the clinical quality and reputation of the hospital</a:t>
            </a:r>
            <a:endParaRPr lang="en-US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CA92E35-9A4D-4339-A601-813F5DBB9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13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97C558-F902-4C85-9637-35B011A8C9AA}"/>
              </a:ext>
            </a:extLst>
          </p:cNvPr>
          <p:cNvSpPr/>
          <p:nvPr/>
        </p:nvSpPr>
        <p:spPr>
          <a:xfrm>
            <a:off x="2103445" y="2591467"/>
            <a:ext cx="9146643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The public perception is that teaching hospitals offer higher quality care.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Faculty physicians stay updated with current standards of practice, including new standards in technology.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Residents often build positive relationships within the community, promoting the hospital.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Teaching hospitals can serve as innovation centers, implementing new care delivery models and producing graduates familiar with new models of care.</a:t>
            </a:r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</a:rPr>
              <a:t>Residents reflect the organizational culture of their training institution, extending its reputation beyond the walls of the institution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F5DB90E-633A-4F8C-98BC-5923C0E692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1173" y="1442633"/>
            <a:ext cx="1107136" cy="1107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821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14FDF-59C4-426C-83D3-E4E267975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72400" y="1055798"/>
            <a:ext cx="3702957" cy="5831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Public health impac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B8E8DD1-C6BA-4508-A8EA-ACBDB7EC9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6706" y="203723"/>
            <a:ext cx="10598096" cy="681038"/>
          </a:xfrm>
        </p:spPr>
        <p:txBody>
          <a:bodyPr>
            <a:normAutofit/>
          </a:bodyPr>
          <a:lstStyle/>
          <a:p>
            <a:r>
              <a:rPr lang="en-US" sz="4000" dirty="0"/>
              <a:t>There are benefits to the community</a:t>
            </a:r>
            <a:endParaRPr lang="en-US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CA92E35-9A4D-4339-A601-813F5DBB9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1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A97C558-F902-4C85-9637-35B011A8C9AA}"/>
              </a:ext>
            </a:extLst>
          </p:cNvPr>
          <p:cNvSpPr/>
          <p:nvPr/>
        </p:nvSpPr>
        <p:spPr>
          <a:xfrm>
            <a:off x="1900274" y="1580348"/>
            <a:ext cx="98661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Residents directly address physician shortages in regions with unmet need. Residents can also provide direct care to underserved, low-income, and vulnerable populations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F5DB90E-633A-4F8C-98BC-5923C0E692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7075" y="1124500"/>
            <a:ext cx="1107136" cy="110713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13C33BF-958A-438C-99FA-AF846C34DD77}"/>
              </a:ext>
            </a:extLst>
          </p:cNvPr>
          <p:cNvSpPr txBox="1">
            <a:spLocks/>
          </p:cNvSpPr>
          <p:nvPr/>
        </p:nvSpPr>
        <p:spPr>
          <a:xfrm>
            <a:off x="1900274" y="2471375"/>
            <a:ext cx="5134941" cy="5788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3"/>
              </a:buClr>
              <a:buFont typeface="Arial Black" panose="020B0A04020102020204" pitchFamily="34" charset="0"/>
              <a:buChar char="⁄"/>
              <a:defRPr sz="2800" b="1" kern="120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Georgia" panose="02040502050405020303" pitchFamily="18" charset="0"/>
              <a:buChar char="-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18872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Georgia" panose="02040502050405020303" pitchFamily="18" charset="0"/>
              <a:buChar char="-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Regional economic impac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33746A-7FBD-4FAF-B6F9-64D1E49DBC63}"/>
              </a:ext>
            </a:extLst>
          </p:cNvPr>
          <p:cNvSpPr/>
          <p:nvPr/>
        </p:nvSpPr>
        <p:spPr>
          <a:xfrm>
            <a:off x="1952856" y="2947001"/>
            <a:ext cx="995432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</a:rPr>
              <a:t>Regional impacts include an increase in business volume, the creation of jobs,</a:t>
            </a:r>
            <a:br>
              <a:rPr lang="en-US" sz="2000" dirty="0">
                <a:solidFill>
                  <a:schemeClr val="accent1"/>
                </a:solidFill>
              </a:rPr>
            </a:br>
            <a:r>
              <a:rPr lang="en-US" sz="2000" dirty="0">
                <a:solidFill>
                  <a:schemeClr val="accent1"/>
                </a:solidFill>
              </a:rPr>
              <a:t>and the generation of tax revenue for local and state governments. In 2019, strategic consulting firm Tripp </a:t>
            </a:r>
            <a:r>
              <a:rPr lang="en-US" sz="2000" dirty="0" err="1">
                <a:solidFill>
                  <a:schemeClr val="accent1"/>
                </a:solidFill>
              </a:rPr>
              <a:t>Umbach</a:t>
            </a:r>
            <a:r>
              <a:rPr lang="en-US" sz="2000" dirty="0">
                <a:solidFill>
                  <a:schemeClr val="accent1"/>
                </a:solidFill>
              </a:rPr>
              <a:t> estimated that in Georgia, each resident generates an average of $300,000 in regional tax revenue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C8CFEB1-F6F1-4B7F-8FF4-7877FC607EDD}"/>
              </a:ext>
            </a:extLst>
          </p:cNvPr>
          <p:cNvSpPr txBox="1">
            <a:spLocks/>
          </p:cNvSpPr>
          <p:nvPr/>
        </p:nvSpPr>
        <p:spPr>
          <a:xfrm>
            <a:off x="1900276" y="4483128"/>
            <a:ext cx="6463409" cy="5653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3"/>
              </a:buClr>
              <a:buFont typeface="Arial Black" panose="020B0A04020102020204" pitchFamily="34" charset="0"/>
              <a:buChar char="⁄"/>
              <a:defRPr sz="2800" b="1" kern="120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Georgia" panose="02040502050405020303" pitchFamily="18" charset="0"/>
              <a:buChar char="-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2"/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18872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46304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Georgia" panose="02040502050405020303" pitchFamily="18" charset="0"/>
              <a:buChar char="-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dirty="0"/>
              <a:t>Sustainable economic impa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180B9FA-15C5-4361-8229-09826BAAE77B}"/>
              </a:ext>
            </a:extLst>
          </p:cNvPr>
          <p:cNvSpPr/>
          <p:nvPr/>
        </p:nvSpPr>
        <p:spPr>
          <a:xfrm>
            <a:off x="1900274" y="4975708"/>
            <a:ext cx="1004452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000" dirty="0">
                <a:solidFill>
                  <a:schemeClr val="accent1"/>
                </a:solidFill>
              </a:rPr>
              <a:t>Tripp </a:t>
            </a:r>
            <a:r>
              <a:rPr lang="en-US" sz="2000" dirty="0" err="1">
                <a:solidFill>
                  <a:schemeClr val="accent1"/>
                </a:solidFill>
              </a:rPr>
              <a:t>Umbach</a:t>
            </a:r>
            <a:r>
              <a:rPr lang="en-US" sz="2000" dirty="0">
                <a:solidFill>
                  <a:schemeClr val="accent1"/>
                </a:solidFill>
              </a:rPr>
              <a:t> also estimated that, in Georgia in 2019, each resident physician who remains in the region generates $2.2 million of economic impact annually and, on average, creates 14 additional jobs.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B6C6BCD-F57A-4C50-B68A-B8FA174811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6608" y="2580650"/>
            <a:ext cx="1028070" cy="102807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EC23559F-63BE-4AF0-A5B5-0DAE0A0AAD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8074" y="4558401"/>
            <a:ext cx="925138" cy="92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9540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A87507-34C0-4E7A-A19D-DC5127D0F6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0314" y="3142374"/>
            <a:ext cx="5672668" cy="2787371"/>
          </a:xfrm>
        </p:spPr>
        <p:txBody>
          <a:bodyPr>
            <a:normAutofit fontScale="85000" lnSpcReduction="20000"/>
          </a:bodyPr>
          <a:lstStyle/>
          <a:p>
            <a:pPr marL="274320" indent="-27432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1"/>
                </a:solidFill>
              </a:rPr>
              <a:t>These fields can bring in indirect revenue or new service lines to other areas of the hospital.</a:t>
            </a:r>
          </a:p>
          <a:p>
            <a:pPr marL="274320" indent="-27432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1"/>
                </a:solidFill>
              </a:rPr>
              <a:t>They can produce shared savings or cost avoidance by reducing community dependence on emergency department and readmissions.</a:t>
            </a:r>
          </a:p>
          <a:p>
            <a:pPr marL="274320" lvl="0" indent="-274320" font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1"/>
                </a:solidFill>
              </a:rPr>
              <a:t>Published data show that teaching hospitals have less mortality than non-teaching hospitals, have a quicker time to see patients, and have higher patient satisfaction.</a:t>
            </a:r>
          </a:p>
          <a:p>
            <a:pPr marL="274320" indent="-27432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chemeClr val="accent1"/>
                </a:solidFill>
              </a:rPr>
              <a:t>Through improved chronic disease management, these fields can reduce high cost and low reimbursement care, including length of hospital stay and other operating costs</a:t>
            </a:r>
            <a:r>
              <a:rPr lang="en-US" sz="1100" b="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E5BE17-2EC5-45E1-836C-DBB5013A69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054" y="278405"/>
            <a:ext cx="5790280" cy="2585565"/>
          </a:xfrm>
        </p:spPr>
        <p:txBody>
          <a:bodyPr/>
          <a:lstStyle/>
          <a:p>
            <a:r>
              <a:rPr lang="en-US" dirty="0"/>
              <a:t>What about typical cost centers like primary care and psychiatry? Won’t they be a drain on a hospital’s already limited resources?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7B048C79-D1CD-4F44-AB17-7D88139805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>
                <a:solidFill>
                  <a:schemeClr val="tx1"/>
                </a:solidFill>
              </a:rPr>
              <a:t>15</a:t>
            </a:fld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AB35AC8-EBA2-482B-9398-14BE579DF6EA}"/>
              </a:ext>
            </a:extLst>
          </p:cNvPr>
          <p:cNvCxnSpPr>
            <a:cxnSpLocks/>
          </p:cNvCxnSpPr>
          <p:nvPr/>
        </p:nvCxnSpPr>
        <p:spPr>
          <a:xfrm flipV="1">
            <a:off x="11192013" y="6055751"/>
            <a:ext cx="580263" cy="55981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Placeholder 7" descr="A picture containing person, indoor, person, table&#10;&#10;Description automatically generated">
            <a:extLst>
              <a:ext uri="{FF2B5EF4-FFF2-40B4-BE49-F238E27FC236}">
                <a16:creationId xmlns:a16="http://schemas.microsoft.com/office/drawing/2014/main" id="{5FCFAF4F-A5D2-4057-BC26-A8899D8B5E1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9334" y="0"/>
            <a:ext cx="5672668" cy="6858000"/>
          </a:xfrm>
        </p:spPr>
      </p:pic>
    </p:spTree>
    <p:extLst>
      <p:ext uri="{BB962C8B-B14F-4D97-AF65-F5344CB8AC3E}">
        <p14:creationId xmlns:p14="http://schemas.microsoft.com/office/powerpoint/2010/main" val="34847571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93C294-FF7E-45E3-8F4B-762DBCB671F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19748" y="1044469"/>
            <a:ext cx="5643362" cy="4934055"/>
          </a:xfrm>
        </p:spPr>
        <p:txBody>
          <a:bodyPr>
            <a:normAutofit fontScale="92500"/>
          </a:bodyPr>
          <a:lstStyle/>
          <a:p>
            <a:pPr>
              <a:lnSpc>
                <a:spcPct val="110000"/>
              </a:lnSpc>
            </a:pPr>
            <a:r>
              <a:rPr lang="en-US" sz="2400" dirty="0"/>
              <a:t>GME, most often called residency, is the on-the-job specialty training physicians receive after they graduate from medical school. </a:t>
            </a:r>
          </a:p>
          <a:p>
            <a:pPr>
              <a:lnSpc>
                <a:spcPct val="110000"/>
              </a:lnSpc>
            </a:pPr>
            <a:r>
              <a:rPr lang="en-US" sz="2400" dirty="0"/>
              <a:t>As of January 2020, physicians must complete three years of residency to be licensed in California. </a:t>
            </a:r>
          </a:p>
          <a:p>
            <a:pPr>
              <a:lnSpc>
                <a:spcPct val="110000"/>
              </a:lnSpc>
            </a:pPr>
            <a:r>
              <a:rPr lang="en-US" sz="2400" dirty="0"/>
              <a:t>Completing a residency is also a requirement to become board certified in a particular specialty (for example, family medicine, general surgery, or psychiatry)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028AE6-E72E-41A3-A704-C618811A2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graduate medical education (GME)?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74EA8BF-CD5A-4CB4-BF74-9EEA051C0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2</a:t>
            </a:fld>
            <a:endParaRPr lang="en-US"/>
          </a:p>
        </p:txBody>
      </p:sp>
      <p:pic>
        <p:nvPicPr>
          <p:cNvPr id="20" name="Picture Placeholder 19" descr="A person in a blue shirt&#10;&#10;Description automatically generated">
            <a:extLst>
              <a:ext uri="{FF2B5EF4-FFF2-40B4-BE49-F238E27FC236}">
                <a16:creationId xmlns:a16="http://schemas.microsoft.com/office/drawing/2014/main" id="{9064E84C-7147-410B-B0EE-26E522A2385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effectLst>
            <a:outerShdw blurRad="127000" dist="127000" dir="48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24" name="Picture Placeholder 23" descr="A group of people looking at a computer&#10;&#10;Description automatically generated">
            <a:extLst>
              <a:ext uri="{FF2B5EF4-FFF2-40B4-BE49-F238E27FC236}">
                <a16:creationId xmlns:a16="http://schemas.microsoft.com/office/drawing/2014/main" id="{163B2B25-4F8C-4DA7-AD7A-C1AF10FC809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3700" y="1066451"/>
            <a:ext cx="4728281" cy="2356198"/>
          </a:xfrm>
          <a:effectLst>
            <a:outerShdw blurRad="127000" dist="127000" dir="4800000" algn="ctr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8302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C5BEA-C9ED-4B26-BCB1-F28EB434B8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74176" y="1095758"/>
            <a:ext cx="3698907" cy="4891000"/>
          </a:xfrm>
        </p:spPr>
        <p:txBody>
          <a:bodyPr>
            <a:normAutofit/>
          </a:bodyPr>
          <a:lstStyle/>
          <a:p>
            <a:r>
              <a:rPr lang="en-US" dirty="0"/>
              <a:t>WORKFORCE!</a:t>
            </a:r>
            <a:br>
              <a:rPr lang="en-US" dirty="0"/>
            </a:b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accent1"/>
                </a:solidFill>
              </a:rPr>
              <a:t>Most areas of California are experiencing a shortage of physicians in most specialties, but the workforce is particularly limited in primary care and psychiatry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accent1"/>
                </a:solidFill>
              </a:rPr>
              <a:t>In addition, more than a third of the current physician workforce is age 60 </a:t>
            </a:r>
            <a:br>
              <a:rPr lang="en-US" sz="1800" b="0" dirty="0">
                <a:solidFill>
                  <a:schemeClr val="accent1"/>
                </a:solidFill>
              </a:rPr>
            </a:br>
            <a:r>
              <a:rPr lang="en-US" sz="1800" b="0" dirty="0">
                <a:solidFill>
                  <a:schemeClr val="accent1"/>
                </a:solidFill>
              </a:rPr>
              <a:t>or older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accent1"/>
                </a:solidFill>
              </a:rPr>
              <a:t>Recruiting doctors has become challenging—and expensive—in many California communitie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F9194A-6002-4CFA-B8DF-6011210D1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y should you consider starting a GME program?</a:t>
            </a:r>
            <a:endParaRPr lang="en-US" sz="36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E1367C-C65A-44F2-A155-5BE5D204B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3</a:t>
            </a:fld>
            <a:endParaRPr lang="en-US"/>
          </a:p>
        </p:txBody>
      </p:sp>
      <p:pic>
        <p:nvPicPr>
          <p:cNvPr id="9" name="Picture Placeholder 8" descr="Two people standing in front of a window&#10;&#10;Description automatically generated">
            <a:extLst>
              <a:ext uri="{FF2B5EF4-FFF2-40B4-BE49-F238E27FC236}">
                <a16:creationId xmlns:a16="http://schemas.microsoft.com/office/drawing/2014/main" id="{412367F8-5D9B-4CED-AA5D-50A98154BEF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74526" y="1095758"/>
            <a:ext cx="6917473" cy="4848600"/>
          </a:xfrm>
        </p:spPr>
      </p:pic>
    </p:spTree>
    <p:extLst>
      <p:ext uri="{BB962C8B-B14F-4D97-AF65-F5344CB8AC3E}">
        <p14:creationId xmlns:p14="http://schemas.microsoft.com/office/powerpoint/2010/main" val="1625612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DFEAF3-C48A-42A8-8747-6B7BAD1819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26475" y="1828335"/>
            <a:ext cx="4931505" cy="4227416"/>
          </a:xfrm>
        </p:spPr>
        <p:txBody>
          <a:bodyPr>
            <a:normAutofit/>
          </a:bodyPr>
          <a:lstStyle/>
          <a:p>
            <a:r>
              <a:rPr lang="en-US" dirty="0"/>
              <a:t>Studies show that most physicians work within 100 miles of where they finished their residency training.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accent1"/>
                </a:solidFill>
              </a:rPr>
              <a:t>California has particularly fertile soil for retaining physicians, as most physicians who train in California stay in California, which ranks first in the United States for GME retention.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800" b="0" dirty="0">
              <a:solidFill>
                <a:schemeClr val="accent1"/>
              </a:solidFill>
            </a:endParaRP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36D7B-DC26-4EB1-8050-400BF7110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823" y="317400"/>
            <a:ext cx="6178511" cy="1368709"/>
          </a:xfrm>
        </p:spPr>
        <p:txBody>
          <a:bodyPr/>
          <a:lstStyle/>
          <a:p>
            <a:r>
              <a:rPr lang="en-US" dirty="0"/>
              <a:t>GME offers the opportunity to </a:t>
            </a:r>
            <a:br>
              <a:rPr lang="en-US" dirty="0"/>
            </a:br>
            <a:r>
              <a:rPr lang="en-US" dirty="0"/>
              <a:t>“grow your own.”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41604A-2A89-4983-BCDA-9E5B93AE6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>
                <a:solidFill>
                  <a:schemeClr val="tx1"/>
                </a:solidFill>
              </a:rPr>
              <a:t>4</a:t>
            </a:fld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EEA337E-E47A-4019-846C-75C4927368C2}"/>
              </a:ext>
            </a:extLst>
          </p:cNvPr>
          <p:cNvCxnSpPr>
            <a:cxnSpLocks/>
          </p:cNvCxnSpPr>
          <p:nvPr/>
        </p:nvCxnSpPr>
        <p:spPr>
          <a:xfrm flipV="1">
            <a:off x="11192013" y="6055751"/>
            <a:ext cx="580263" cy="55981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Placeholder 9" descr="A picture containing person, person, standing, person&#10;&#10;Description automatically generated">
            <a:extLst>
              <a:ext uri="{FF2B5EF4-FFF2-40B4-BE49-F238E27FC236}">
                <a16:creationId xmlns:a16="http://schemas.microsoft.com/office/drawing/2014/main" id="{FAFA5237-6CE9-4725-9944-7E6A1F03AFD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69"/>
          <a:stretch/>
        </p:blipFill>
        <p:spPr>
          <a:xfrm>
            <a:off x="6519334" y="0"/>
            <a:ext cx="5672668" cy="6858000"/>
          </a:xfrm>
        </p:spPr>
      </p:pic>
    </p:spTree>
    <p:extLst>
      <p:ext uri="{BB962C8B-B14F-4D97-AF65-F5344CB8AC3E}">
        <p14:creationId xmlns:p14="http://schemas.microsoft.com/office/powerpoint/2010/main" val="36614907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C9B6015-CDB1-452F-BC54-E20D886410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3966" y="2221706"/>
            <a:ext cx="10748914" cy="1500187"/>
          </a:xfrm>
        </p:spPr>
        <p:txBody>
          <a:bodyPr>
            <a:noAutofit/>
          </a:bodyPr>
          <a:lstStyle/>
          <a:p>
            <a:r>
              <a:rPr lang="en-US" sz="4800" dirty="0"/>
              <a:t>Well, if it’s so great, why isn’t every hospital a teaching hospital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F8DC458-C020-4695-8F9B-E1FAC7F150F0}"/>
              </a:ext>
            </a:extLst>
          </p:cNvPr>
          <p:cNvSpPr/>
          <p:nvPr/>
        </p:nvSpPr>
        <p:spPr>
          <a:xfrm>
            <a:off x="2559170" y="4020235"/>
            <a:ext cx="70736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Starting a new GME program at a hospital that’s never had one requires substantial investment.</a:t>
            </a:r>
          </a:p>
        </p:txBody>
      </p:sp>
    </p:spTree>
    <p:extLst>
      <p:ext uri="{BB962C8B-B14F-4D97-AF65-F5344CB8AC3E}">
        <p14:creationId xmlns:p14="http://schemas.microsoft.com/office/powerpoint/2010/main" val="17145258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14FDF-59C4-426C-83D3-E4E267975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74177" y="1439971"/>
            <a:ext cx="10425944" cy="4248995"/>
          </a:xfrm>
        </p:spPr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∕"/>
            </a:pPr>
            <a:r>
              <a:rPr lang="en-US" dirty="0"/>
              <a:t>Outside consulting </a:t>
            </a:r>
            <a:br>
              <a:rPr lang="en-US" dirty="0"/>
            </a:br>
            <a:r>
              <a:rPr lang="en-US" b="0" dirty="0">
                <a:solidFill>
                  <a:schemeClr val="accent1"/>
                </a:solidFill>
              </a:rPr>
              <a:t>(feasibility studies, financial expertise, legal support)</a:t>
            </a:r>
          </a:p>
          <a:p>
            <a:pPr>
              <a:buFont typeface="Arial" panose="020B0604020202020204" pitchFamily="34" charset="0"/>
              <a:buChar char="∕"/>
            </a:pPr>
            <a:r>
              <a:rPr lang="en-US" dirty="0"/>
              <a:t>Infrastructure improvements </a:t>
            </a:r>
            <a:br>
              <a:rPr lang="en-US" dirty="0"/>
            </a:br>
            <a:r>
              <a:rPr lang="en-US" b="0" dirty="0">
                <a:solidFill>
                  <a:schemeClr val="accent1"/>
                </a:solidFill>
              </a:rPr>
              <a:t>(resident call rooms, workstations, simulators)</a:t>
            </a:r>
          </a:p>
          <a:p>
            <a:pPr>
              <a:buFont typeface="Arial" panose="020B0604020202020204" pitchFamily="34" charset="0"/>
              <a:buChar char="∕"/>
            </a:pPr>
            <a:r>
              <a:rPr lang="en-US" dirty="0"/>
              <a:t>Personnel </a:t>
            </a:r>
            <a:br>
              <a:rPr lang="en-US" dirty="0"/>
            </a:br>
            <a:r>
              <a:rPr lang="en-US" b="0" dirty="0">
                <a:solidFill>
                  <a:schemeClr val="accent1"/>
                </a:solidFill>
              </a:rPr>
              <a:t>(program coordinators, program directors)</a:t>
            </a:r>
          </a:p>
          <a:p>
            <a:pPr>
              <a:buFont typeface="Arial" panose="020B0604020202020204" pitchFamily="34" charset="0"/>
              <a:buChar char="∕"/>
            </a:pPr>
            <a:r>
              <a:rPr lang="en-US" dirty="0"/>
              <a:t>Accreditation fees</a:t>
            </a:r>
          </a:p>
          <a:p>
            <a:pPr>
              <a:buFont typeface="Arial" panose="020B0604020202020204" pitchFamily="34" charset="0"/>
              <a:buChar char="∕"/>
            </a:pPr>
            <a:r>
              <a:rPr lang="en-US" dirty="0"/>
              <a:t>Program costs before reimbursements become available, such as resident salaries and insurance</a:t>
            </a:r>
          </a:p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B8E8DD1-C6BA-4508-A8EA-ACBDB7EC9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9453" y="232384"/>
            <a:ext cx="10598096" cy="936650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Many expenses related to starting a GME program are up-front costs</a:t>
            </a:r>
            <a:endParaRPr lang="en-US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CA92E35-9A4D-4339-A601-813F5DBB9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16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C0C25-2312-4B5B-AF96-A89366B9D4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74176" y="1022490"/>
            <a:ext cx="6278183" cy="4978442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  <a:buFont typeface="Arial" panose="020B0604020202020204" pitchFamily="34" charset="0"/>
              <a:buChar char="∕"/>
            </a:pPr>
            <a:r>
              <a:rPr lang="en-US" dirty="0"/>
              <a:t>Hospitals must also meet all the requirements for accreditation:</a:t>
            </a:r>
          </a:p>
          <a:p>
            <a:pPr lvl="1">
              <a:lnSpc>
                <a:spcPct val="11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Appropriate access to different educational experiences</a:t>
            </a:r>
          </a:p>
          <a:p>
            <a:pPr lvl="1">
              <a:lnSpc>
                <a:spcPct val="110000"/>
              </a:lnSpc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</a:rPr>
              <a:t>Appropriate number and types of patients</a:t>
            </a:r>
          </a:p>
          <a:p>
            <a:pPr>
              <a:lnSpc>
                <a:spcPct val="110000"/>
              </a:lnSpc>
              <a:buFont typeface="Arial" panose="020B0604020202020204" pitchFamily="34" charset="0"/>
              <a:buChar char="∕"/>
            </a:pPr>
            <a:r>
              <a:rPr lang="en-US" dirty="0"/>
              <a:t>Qualified program directors and designated institutional officials can be difficult to find and recruit.</a:t>
            </a:r>
          </a:p>
          <a:p>
            <a:pPr>
              <a:lnSpc>
                <a:spcPct val="110000"/>
              </a:lnSpc>
              <a:buFont typeface="Arial" panose="020B0604020202020204" pitchFamily="34" charset="0"/>
              <a:buChar char="∕"/>
            </a:pPr>
            <a:r>
              <a:rPr lang="en-US" dirty="0"/>
              <a:t>Support from the medical and support staff might be mixed, particularly in the beginning (people don’t like “giving up ownership and control” to residents).</a:t>
            </a:r>
          </a:p>
          <a:p>
            <a:pPr>
              <a:lnSpc>
                <a:spcPct val="110000"/>
              </a:lnSpc>
              <a:buFont typeface="Arial" panose="020B0604020202020204" pitchFamily="34" charset="0"/>
              <a:buChar char="∕"/>
            </a:pPr>
            <a:r>
              <a:rPr lang="en-US" dirty="0"/>
              <a:t>The accreditation process can be lengthy, often taking two years or mor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9BD8CB-B849-4D2B-9CB0-403730DCF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financial barriers are also substantial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8F8DC6A2-2229-40FA-8C1C-071CC7B57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7</a:t>
            </a:fld>
            <a:endParaRPr lang="en-US"/>
          </a:p>
        </p:txBody>
      </p:sp>
      <p:pic>
        <p:nvPicPr>
          <p:cNvPr id="14" name="Picture Placeholder 13" descr="A person sitting in a room&#10;&#10;Description automatically generated">
            <a:extLst>
              <a:ext uri="{FF2B5EF4-FFF2-40B4-BE49-F238E27FC236}">
                <a16:creationId xmlns:a16="http://schemas.microsoft.com/office/drawing/2014/main" id="{AAB591AE-75D9-4CEF-899A-5A6A809F8EE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88250" y="3644900"/>
            <a:ext cx="3881438" cy="2355850"/>
          </a:xfrm>
          <a:effectLst>
            <a:outerShdw blurRad="127000" dist="127000" dir="4800000" algn="ctr" rotWithShape="0">
              <a:srgbClr val="000000">
                <a:alpha val="20000"/>
              </a:srgbClr>
            </a:outerShdw>
          </a:effectLst>
        </p:spPr>
      </p:pic>
      <p:pic>
        <p:nvPicPr>
          <p:cNvPr id="18" name="Picture Placeholder 17" descr="A person standing in front of a mirror posing for the camera&#10;&#10;Description automatically generated">
            <a:extLst>
              <a:ext uri="{FF2B5EF4-FFF2-40B4-BE49-F238E27FC236}">
                <a16:creationId xmlns:a16="http://schemas.microsoft.com/office/drawing/2014/main" id="{133A3610-D024-4CB4-ACC7-9C53D0CB674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8250" y="1066451"/>
            <a:ext cx="3883731" cy="2356198"/>
          </a:xfrm>
          <a:effectLst>
            <a:outerShdw blurRad="127000" dist="127000" dir="4800000" algn="ctr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73920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F8DC458-C020-4695-8F9B-E1FAC7F150F0}"/>
              </a:ext>
            </a:extLst>
          </p:cNvPr>
          <p:cNvSpPr/>
          <p:nvPr/>
        </p:nvSpPr>
        <p:spPr>
          <a:xfrm>
            <a:off x="928777" y="1982450"/>
            <a:ext cx="10334445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b="1" dirty="0"/>
              <a:t>However…</a:t>
            </a:r>
            <a:br>
              <a:rPr lang="en-US" sz="4000" dirty="0"/>
            </a:br>
            <a:r>
              <a:rPr lang="en-US" sz="4000" dirty="0"/>
              <a:t>If, after some analysis, a hospital decides it has the capacity for a GME program, there can be </a:t>
            </a:r>
            <a:r>
              <a:rPr lang="en-US" sz="4800" b="1" dirty="0"/>
              <a:t>MANY benefits.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991002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514FDF-59C4-426C-83D3-E4E2679752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03448" y="1746567"/>
            <a:ext cx="9460771" cy="53080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FEDERAL FUNDING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B8E8DD1-C6BA-4508-A8EA-ACBDB7EC9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9453" y="232384"/>
            <a:ext cx="10598096" cy="936650"/>
          </a:xfrm>
        </p:spPr>
        <p:txBody>
          <a:bodyPr>
            <a:normAutofit fontScale="90000"/>
          </a:bodyPr>
          <a:lstStyle/>
          <a:p>
            <a:r>
              <a:rPr lang="en-US" sz="4000" dirty="0"/>
              <a:t>Benefit #1 for hospitals starting a GME program </a:t>
            </a:r>
            <a:br>
              <a:rPr lang="en-US" sz="4000" dirty="0"/>
            </a:br>
            <a:r>
              <a:rPr lang="en-US" sz="4000" dirty="0"/>
              <a:t>for the first time</a:t>
            </a:r>
            <a:endParaRPr lang="en-US" dirty="0"/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FCA92E35-9A4D-4339-A601-813F5DBB9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0088" y="6165387"/>
            <a:ext cx="522185" cy="681038"/>
          </a:xfrm>
          <a:noFill/>
        </p:spPr>
        <p:txBody>
          <a:bodyPr lIns="0" tIns="0" rIns="0" bIns="0" anchor="ctr" anchorCtr="0"/>
          <a:lstStyle>
            <a:lvl1pPr algn="r">
              <a:defRPr>
                <a:solidFill>
                  <a:schemeClr val="accent3"/>
                </a:solidFill>
              </a:defRPr>
            </a:lvl1pPr>
          </a:lstStyle>
          <a:p>
            <a:fld id="{7A346FA0-0839-483A-AF46-DBCBB8F534FD}" type="slidenum">
              <a:rPr lang="en-US" smtClean="0"/>
              <a:t>9</a:t>
            </a:fld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A21BEF0-C3D8-404A-BB14-896C85521A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2899" y="1387082"/>
            <a:ext cx="1249776" cy="124977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A97C558-F902-4C85-9637-35B011A8C9AA}"/>
              </a:ext>
            </a:extLst>
          </p:cNvPr>
          <p:cNvSpPr/>
          <p:nvPr/>
        </p:nvSpPr>
        <p:spPr>
          <a:xfrm>
            <a:off x="2103448" y="2513220"/>
            <a:ext cx="946077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 Hospitals that have never had a teaching program are eligible to draw substantial funding for new GME programs through Medicare. But the amount, as well as the number of residents that the Centers for Medicare &amp; Medicaid Services will pay for, is LIMITED. There is also a LIMITED TIME period during which hospitals can set their maximum values after the process begins. This is one reason it is </a:t>
            </a:r>
            <a:r>
              <a:rPr lang="en-US" sz="2400" i="1" dirty="0">
                <a:solidFill>
                  <a:schemeClr val="accent1"/>
                </a:solidFill>
              </a:rPr>
              <a:t>crucial</a:t>
            </a:r>
            <a:r>
              <a:rPr lang="en-US" sz="2400" dirty="0">
                <a:solidFill>
                  <a:schemeClr val="accent1"/>
                </a:solidFill>
              </a:rPr>
              <a:t> to obtain financial expertise specific to Centers for Medicare &amp; Medicaid Services cost reports in the early stages of planning, </a:t>
            </a:r>
            <a:br>
              <a:rPr lang="en-US" sz="2400" dirty="0">
                <a:solidFill>
                  <a:schemeClr val="accent1"/>
                </a:solidFill>
              </a:rPr>
            </a:br>
            <a:r>
              <a:rPr lang="en-US" sz="2400" dirty="0">
                <a:solidFill>
                  <a:schemeClr val="accent1"/>
                </a:solidFill>
              </a:rPr>
              <a:t>well before the clock starts ticking.</a:t>
            </a:r>
          </a:p>
        </p:txBody>
      </p:sp>
    </p:spTree>
    <p:extLst>
      <p:ext uri="{BB962C8B-B14F-4D97-AF65-F5344CB8AC3E}">
        <p14:creationId xmlns:p14="http://schemas.microsoft.com/office/powerpoint/2010/main" val="1383195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PMzyfalVBJ_2Ask38j3A"/>
</p:tagLst>
</file>

<file path=ppt/theme/theme1.xml><?xml version="1.0" encoding="utf-8"?>
<a:theme xmlns:a="http://schemas.openxmlformats.org/drawingml/2006/main" name="BIZ DIV">
  <a:themeElements>
    <a:clrScheme name="MathematicaUniversal-GMMB">
      <a:dk1>
        <a:sysClr val="windowText" lastClr="000000"/>
      </a:dk1>
      <a:lt1>
        <a:sysClr val="window" lastClr="FFFFFF"/>
      </a:lt1>
      <a:dk2>
        <a:srgbClr val="046B5C"/>
      </a:dk2>
      <a:lt2>
        <a:srgbClr val="E0D4B5"/>
      </a:lt2>
      <a:accent1>
        <a:srgbClr val="0B2949"/>
      </a:accent1>
      <a:accent2>
        <a:srgbClr val="D02B27"/>
      </a:accent2>
      <a:accent3>
        <a:srgbClr val="5B6771"/>
      </a:accent3>
      <a:accent4>
        <a:srgbClr val="F1B51C"/>
      </a:accent4>
      <a:accent5>
        <a:srgbClr val="189394"/>
      </a:accent5>
      <a:accent6>
        <a:srgbClr val="17A673"/>
      </a:accent6>
      <a:hlink>
        <a:srgbClr val="0563C1"/>
      </a:hlink>
      <a:folHlink>
        <a:srgbClr val="954F72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IZ DIV" id="{0070DA54-21E1-4A79-B77D-1044B25C4E6A}" vid="{2F2001D8-5BB1-409D-A61B-1A90F7B520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300BC9A1AE9A42AC06CFB4B11E0561" ma:contentTypeVersion="11" ma:contentTypeDescription="Create a new document." ma:contentTypeScope="" ma:versionID="0afdbfaec3c6806a36b52f7f38af353a">
  <xsd:schema xmlns:xsd="http://www.w3.org/2001/XMLSchema" xmlns:xs="http://www.w3.org/2001/XMLSchema" xmlns:p="http://schemas.microsoft.com/office/2006/metadata/properties" xmlns:ns1="http://schemas.microsoft.com/sharepoint/v3" xmlns:ns3="f27e73e1-c974-4c5a-9c58-e6a5e28680f5" targetNamespace="http://schemas.microsoft.com/office/2006/metadata/properties" ma:root="true" ma:fieldsID="f097934b6c5af742719deeb2b1340929" ns1:_="" ns3:_="">
    <xsd:import namespace="http://schemas.microsoft.com/sharepoint/v3"/>
    <xsd:import namespace="f27e73e1-c974-4c5a-9c58-e6a5e28680f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7e73e1-c974-4c5a-9c58-e6a5e28680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3EBB649-E309-49B5-A9DF-5FCEFD9257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A3BC489-FB0E-4515-9194-CB8B27F338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27e73e1-c974-4c5a-9c58-e6a5e28680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A94679B-3755-4C46-9EBB-69854D5665BD}">
  <ds:schemaRefs>
    <ds:schemaRef ds:uri="http://www.w3.org/XML/1998/namespace"/>
    <ds:schemaRef ds:uri="http://schemas.microsoft.com/office/2006/metadata/properties"/>
    <ds:schemaRef ds:uri="f27e73e1-c974-4c5a-9c58-e6a5e28680f5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sharepoint/v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IZ DIV</Template>
  <TotalTime>611</TotalTime>
  <Words>1655</Words>
  <Application>Microsoft Office PowerPoint</Application>
  <PresentationFormat>Widescreen</PresentationFormat>
  <Paragraphs>93</Paragraphs>
  <Slides>1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Arial Black</vt:lpstr>
      <vt:lpstr>Arial Narrow</vt:lpstr>
      <vt:lpstr>Arial Rounded MT Bold</vt:lpstr>
      <vt:lpstr>Calibri</vt:lpstr>
      <vt:lpstr>Courier New</vt:lpstr>
      <vt:lpstr>Georgia</vt:lpstr>
      <vt:lpstr>Times New Roman</vt:lpstr>
      <vt:lpstr>BIZ DIV</vt:lpstr>
      <vt:lpstr>think-cell Slide</vt:lpstr>
      <vt:lpstr>From Community Hospital to Teaching Hospital</vt:lpstr>
      <vt:lpstr>What is graduate medical education (GME)?</vt:lpstr>
      <vt:lpstr>Why should you consider starting a GME program?</vt:lpstr>
      <vt:lpstr>GME offers the opportunity to  “grow your own.”</vt:lpstr>
      <vt:lpstr>PowerPoint Presentation</vt:lpstr>
      <vt:lpstr>Many expenses related to starting a GME program are up-front costs</vt:lpstr>
      <vt:lpstr>Nonfinancial barriers are also substantial</vt:lpstr>
      <vt:lpstr>PowerPoint Presentation</vt:lpstr>
      <vt:lpstr>Benefit #1 for hospitals starting a GME program  for the first time</vt:lpstr>
      <vt:lpstr>PowerPoint Presentation</vt:lpstr>
      <vt:lpstr>Benefit #2 And did we mention</vt:lpstr>
      <vt:lpstr>Teaching programs increase physicians’ quality  of life, increasing job satisfaction and retention</vt:lpstr>
      <vt:lpstr>Teaching programs improve the clinical quality and reputation of the hospital</vt:lpstr>
      <vt:lpstr>There are benefits to the community</vt:lpstr>
      <vt:lpstr>What about typical cost centers like primary care and psychiatry? Won’t they be a drain on a hospital’s already limited resource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itional Program Office for Accelerating GME Expansion in California Advisory Board Meeting</dc:title>
  <dc:creator>Diane Rittenhouse</dc:creator>
  <cp:lastModifiedBy>Diane Rittenhouse</cp:lastModifiedBy>
  <cp:revision>60</cp:revision>
  <dcterms:created xsi:type="dcterms:W3CDTF">2020-10-16T16:14:40Z</dcterms:created>
  <dcterms:modified xsi:type="dcterms:W3CDTF">2020-10-22T21:4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300BC9A1AE9A42AC06CFB4B11E0561</vt:lpwstr>
  </property>
</Properties>
</file>